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0" r:id="rId1"/>
  </p:sldMasterIdLst>
  <p:sldIdLst>
    <p:sldId id="256" r:id="rId2"/>
    <p:sldId id="324" r:id="rId3"/>
    <p:sldId id="257" r:id="rId4"/>
    <p:sldId id="274" r:id="rId5"/>
    <p:sldId id="327" r:id="rId6"/>
    <p:sldId id="288" r:id="rId7"/>
    <p:sldId id="325" r:id="rId8"/>
    <p:sldId id="275" r:id="rId9"/>
    <p:sldId id="310" r:id="rId10"/>
    <p:sldId id="289" r:id="rId11"/>
    <p:sldId id="311" r:id="rId12"/>
    <p:sldId id="328" r:id="rId13"/>
    <p:sldId id="312" r:id="rId14"/>
    <p:sldId id="313" r:id="rId15"/>
    <p:sldId id="314" r:id="rId16"/>
    <p:sldId id="326" r:id="rId17"/>
    <p:sldId id="315" r:id="rId18"/>
    <p:sldId id="321" r:id="rId19"/>
    <p:sldId id="322" r:id="rId20"/>
    <p:sldId id="309" r:id="rId21"/>
    <p:sldId id="262" r:id="rId22"/>
    <p:sldId id="276" r:id="rId23"/>
    <p:sldId id="278" r:id="rId24"/>
    <p:sldId id="329" r:id="rId25"/>
    <p:sldId id="277" r:id="rId26"/>
    <p:sldId id="264" r:id="rId27"/>
    <p:sldId id="304" r:id="rId28"/>
    <p:sldId id="279" r:id="rId29"/>
    <p:sldId id="265" r:id="rId30"/>
    <p:sldId id="334" r:id="rId31"/>
    <p:sldId id="286" r:id="rId32"/>
    <p:sldId id="305" r:id="rId33"/>
    <p:sldId id="323" r:id="rId34"/>
    <p:sldId id="336" r:id="rId35"/>
    <p:sldId id="266" r:id="rId36"/>
    <p:sldId id="306" r:id="rId37"/>
    <p:sldId id="318" r:id="rId38"/>
    <p:sldId id="316" r:id="rId39"/>
    <p:sldId id="292" r:id="rId40"/>
    <p:sldId id="293" r:id="rId41"/>
    <p:sldId id="295" r:id="rId42"/>
    <p:sldId id="297" r:id="rId43"/>
    <p:sldId id="303" r:id="rId44"/>
    <p:sldId id="317" r:id="rId45"/>
    <p:sldId id="290" r:id="rId46"/>
    <p:sldId id="331" r:id="rId47"/>
    <p:sldId id="300" r:id="rId48"/>
    <p:sldId id="332" r:id="rId49"/>
    <p:sldId id="333" r:id="rId50"/>
    <p:sldId id="335" r:id="rId51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2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5363" userDrawn="1">
          <p15:clr>
            <a:srgbClr val="A4A3A4"/>
          </p15:clr>
        </p15:guide>
        <p15:guide id="4" orient="horz" pos="3906" userDrawn="1">
          <p15:clr>
            <a:srgbClr val="A4A3A4"/>
          </p15:clr>
        </p15:guide>
        <p15:guide id="5" orient="horz" pos="1071" userDrawn="1">
          <p15:clr>
            <a:srgbClr val="A4A3A4"/>
          </p15:clr>
        </p15:guide>
        <p15:guide id="6" orient="horz" pos="1139" userDrawn="1">
          <p15:clr>
            <a:srgbClr val="A4A3A4"/>
          </p15:clr>
        </p15:guide>
        <p15:guide id="7" pos="380" userDrawn="1">
          <p15:clr>
            <a:srgbClr val="A4A3A4"/>
          </p15:clr>
        </p15:guide>
        <p15:guide id="8" pos="2914" userDrawn="1">
          <p15:clr>
            <a:srgbClr val="A4A3A4"/>
          </p15:clr>
        </p15:guide>
        <p15:guide id="9" pos="284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Эсмина Кайибханова" initials="ЭК" lastIdx="63" clrIdx="0">
    <p:extLst>
      <p:ext uri="{19B8F6BF-5375-455C-9EA6-DF929625EA0E}">
        <p15:presenceInfo xmlns:p15="http://schemas.microsoft.com/office/powerpoint/2012/main" userId="Эсмина Кайибханова" providerId="None"/>
      </p:ext>
    </p:extLst>
  </p:cmAuthor>
  <p:cmAuthor id="2" name="ординаторская5" initials="о" lastIdx="7" clrIdx="1">
    <p:extLst>
      <p:ext uri="{19B8F6BF-5375-455C-9EA6-DF929625EA0E}">
        <p15:presenceInfo xmlns:p15="http://schemas.microsoft.com/office/powerpoint/2012/main" userId="ординаторская5" providerId="None"/>
      </p:ext>
    </p:extLst>
  </p:cmAuthor>
  <p:cmAuthor id="3" name="00-ORP-04" initials="U" lastIdx="8" clrIdx="2">
    <p:extLst>
      <p:ext uri="{19B8F6BF-5375-455C-9EA6-DF929625EA0E}">
        <p15:presenceInfo xmlns:p15="http://schemas.microsoft.com/office/powerpoint/2012/main" userId="00-ORP-04" providerId="None"/>
      </p:ext>
    </p:extLst>
  </p:cmAuthor>
  <p:cmAuthor id="4" name="00-ORP-Ruler" initials="1" lastIdx="2" clrIdx="3">
    <p:extLst>
      <p:ext uri="{19B8F6BF-5375-455C-9EA6-DF929625EA0E}">
        <p15:presenceInfo xmlns:p15="http://schemas.microsoft.com/office/powerpoint/2012/main" userId="00-ORP-Ruler" providerId="None"/>
      </p:ext>
    </p:extLst>
  </p:cmAuthor>
  <p:cmAuthor id="5" name="ЗАВЕДУЮЩИЙ-3-ОПМП-000036" initials="Ф" lastIdx="16" clrIdx="4">
    <p:extLst>
      <p:ext uri="{19B8F6BF-5375-455C-9EA6-DF929625EA0E}">
        <p15:presenceInfo xmlns:p15="http://schemas.microsoft.com/office/powerpoint/2012/main" userId="ЗАВЕДУЮЩИЙ-3-ОПМП-000036" providerId="None"/>
      </p:ext>
    </p:extLst>
  </p:cmAuthor>
  <p:cmAuthor id="6" name="Esmina" initials="E" lastIdx="4" clrIdx="5">
    <p:extLst>
      <p:ext uri="{19B8F6BF-5375-455C-9EA6-DF929625EA0E}">
        <p15:presenceInfo xmlns:p15="http://schemas.microsoft.com/office/powerpoint/2012/main" userId="Esmin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24838"/>
    <a:srgbClr val="87EFDA"/>
    <a:srgbClr val="FEF1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93254" autoAdjust="0"/>
  </p:normalViewPr>
  <p:slideViewPr>
    <p:cSldViewPr snapToGrid="0">
      <p:cViewPr varScale="1">
        <p:scale>
          <a:sx n="100" d="100"/>
          <a:sy n="100" d="100"/>
        </p:scale>
        <p:origin x="1884" y="84"/>
      </p:cViewPr>
      <p:guideLst>
        <p:guide orient="horz" pos="232"/>
        <p:guide pos="2880"/>
        <p:guide pos="5363"/>
        <p:guide orient="horz" pos="3906"/>
        <p:guide orient="horz" pos="1071"/>
        <p:guide orient="horz" pos="1139"/>
        <p:guide pos="380"/>
        <p:guide pos="2914"/>
        <p:guide pos="284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8-28T17:01:55.966" idx="49">
    <p:pos x="6676" y="2950"/>
    <p:text>хорошо бы дать ссылку на какой-то научный источник, где определены степени. Это каая-то общепринятая шкала?</p:text>
    <p:extLst>
      <p:ext uri="{C676402C-5697-4E1C-873F-D02D1690AC5C}">
        <p15:threadingInfo xmlns:p15="http://schemas.microsoft.com/office/powerpoint/2012/main" timeZoneBias="-180"/>
      </p:ext>
    </p:extLst>
  </p:cm>
  <p:cm authorId="5" dt="2019-08-29T13:57:57.122" idx="1">
    <p:pos x="6676" y="3086"/>
    <p:text>да, это общепринятая шкала, но даже не знаю, кем она утверждена была. что-то не нашла</p:text>
    <p:extLst>
      <p:ext uri="{C676402C-5697-4E1C-873F-D02D1690AC5C}">
        <p15:threadingInfo xmlns:p15="http://schemas.microsoft.com/office/powerpoint/2012/main" timeZoneBias="-180">
          <p15:parentCm authorId="1" idx="49"/>
        </p15:threadingInfo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9-08-28T17:39:34.592" idx="63">
    <p:pos x="10" y="10"/>
    <p:text>было бы здоров подкрепить ссылками на научные источники</p:text>
    <p:extLst>
      <p:ext uri="{C676402C-5697-4E1C-873F-D02D1690AC5C}">
        <p15:threadingInfo xmlns:p15="http://schemas.microsoft.com/office/powerpoint/2012/main" timeZoneBias="-180"/>
      </p:ext>
    </p:extLst>
  </p:cm>
  <p:cm authorId="5" dt="2019-08-29T14:58:11.163" idx="9">
    <p:pos x="10" y="146"/>
    <p:text>в принципе эти правила озвучены здесь:</p:text>
    <p:extLst>
      <p:ext uri="{C676402C-5697-4E1C-873F-D02D1690AC5C}">
        <p15:threadingInfo xmlns:p15="http://schemas.microsoft.com/office/powerpoint/2012/main" timeZoneBias="-180">
          <p15:parentCm authorId="1" idx="63"/>
        </p15:threadingInfo>
      </p:ext>
    </p:extLst>
  </p:cm>
  <p:cm authorId="5" dt="2019-08-29T14:58:16.667" idx="10">
    <p:pos x="10" y="282"/>
    <p:text>Национальная ассоциация по борьбе с инсультом
Всероссийское общество неврологов
Ассоциация нейрохирургов России
МОО Объединение нейроанестезиологов и нейрореаниматологов
Общероссийская общественная организация содействия развитию медицинской реабилитологии «Союз реабилитологов России»
ДИАГНОСТИКА И ЛЕЧЕНИЕ ДИСФАГИИ 
ПРИ ЗАБОЛЕВАНИЯХ ЦЕНТРАЛЬНОЙ НЕРВНОЙ СИСТЕМЫ
КЛИНИЧЕСКИЕ РЕКОМЕНДАЦИИ</p:text>
    <p:extLst>
      <p:ext uri="{C676402C-5697-4E1C-873F-D02D1690AC5C}">
        <p15:threadingInfo xmlns:p15="http://schemas.microsoft.com/office/powerpoint/2012/main" timeZoneBias="-180">
          <p15:parentCm authorId="1" idx="63"/>
        </p15:threadingInfo>
      </p:ext>
    </p:extLst>
  </p:cm>
  <p:cm authorId="5" dt="2019-08-29T14:58:54.252" idx="11">
    <p:pos x="10" y="418"/>
    <p:text>я же ординатуру по реабилитации на этой кафедре проходила и они являются ведущими в этом вопросе</p:text>
    <p:extLst>
      <p:ext uri="{C676402C-5697-4E1C-873F-D02D1690AC5C}">
        <p15:threadingInfo xmlns:p15="http://schemas.microsoft.com/office/powerpoint/2012/main" timeZoneBias="-180">
          <p15:parentCm authorId="1" idx="63"/>
        </p15:threadingInfo>
      </p:ext>
    </p:extLst>
  </p:cm>
  <p:cm authorId="6" dt="2019-09-02T11:10:20.230" idx="4">
    <p:pos x="10" y="554"/>
    <p:text>Катя, добавь ссылку, пожалуйста.  И слайд делать как мифы и реальность в обезболивании</p:text>
    <p:extLst>
      <p:ext uri="{C676402C-5697-4E1C-873F-D02D1690AC5C}">
        <p15:threadingInfo xmlns:p15="http://schemas.microsoft.com/office/powerpoint/2012/main" timeZoneBias="-180">
          <p15:parentCm authorId="1" idx="63"/>
        </p15:threadingInfo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3551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53174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6976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2769927" y="4163293"/>
            <a:ext cx="4686521" cy="652759"/>
            <a:chOff x="1663" y="3057"/>
            <a:chExt cx="3109" cy="40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057"/>
              <a:ext cx="3109" cy="1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az-Cyrl-AZ" sz="1905" dirty="0">
                  <a:solidFill>
                    <a:srgbClr val="000000"/>
                  </a:solidFill>
                  <a:latin typeface="Arial"/>
                  <a:sym typeface="+mn-lt"/>
                </a:rPr>
                <a:t>Тип документа</a:t>
              </a:r>
              <a:endParaRPr lang="de-DE" sz="1905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az-Cyrl-AZ" sz="1905" dirty="0">
                  <a:solidFill>
                    <a:srgbClr val="000000"/>
                  </a:solidFill>
                  <a:latin typeface="Arial"/>
                  <a:sym typeface="+mn-lt"/>
                </a:rPr>
                <a:t>Дата</a:t>
              </a:r>
              <a:endParaRPr lang="de-DE" sz="1905" dirty="0">
                <a:solidFill>
                  <a:srgbClr val="000000"/>
                </a:solidFill>
                <a:latin typeface="Arial"/>
                <a:sym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73336" y="632660"/>
            <a:ext cx="8597327" cy="65755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081" b="1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de-DE" noProof="0" dirty="0"/>
          </a:p>
        </p:txBody>
      </p:sp>
      <p:sp>
        <p:nvSpPr>
          <p:cNvPr id="14" name="TextBox 13"/>
          <p:cNvSpPr txBox="1">
            <a:spLocks/>
          </p:cNvSpPr>
          <p:nvPr userDrawn="1"/>
        </p:nvSpPr>
        <p:spPr bwMode="ltGray">
          <a:xfrm>
            <a:off x="1687549" y="86578"/>
            <a:ext cx="5768900" cy="669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ru-RU" sz="2176" b="1" dirty="0">
                <a:solidFill>
                  <a:srgbClr val="FFFFFF"/>
                </a:solidFill>
                <a:latin typeface="Arial"/>
                <a:sym typeface="+mn-lt"/>
              </a:rPr>
              <a:t>ДЕПАРТАМЕНТ ЗДРАВООХРАНЕНИЯ ГОРОДА МОСКВЫ</a:t>
            </a:r>
          </a:p>
        </p:txBody>
      </p:sp>
      <p:pic>
        <p:nvPicPr>
          <p:cNvPr id="26" name="Picture 5" descr="http://abali.ru/wp-content/uploads/2010/12/gerb_moskvy.pn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870662" y="-4157"/>
            <a:ext cx="273338" cy="420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Объект 4"/>
          <p:cNvSpPr>
            <a:spLocks noGrp="1"/>
          </p:cNvSpPr>
          <p:nvPr>
            <p:ph sz="quarter" idx="11"/>
          </p:nvPr>
        </p:nvSpPr>
        <p:spPr>
          <a:xfrm>
            <a:off x="273336" y="2608572"/>
            <a:ext cx="8597327" cy="2511585"/>
          </a:xfrm>
        </p:spPr>
        <p:txBody>
          <a:bodyPr anchor="ctr"/>
          <a:lstStyle>
            <a:lvl1pPr>
              <a:lnSpc>
                <a:spcPct val="200000"/>
              </a:lnSpc>
              <a:defRPr sz="1632">
                <a:solidFill>
                  <a:schemeClr val="tx2"/>
                </a:solidFill>
              </a:defRPr>
            </a:lvl1pPr>
            <a:lvl2pPr>
              <a:lnSpc>
                <a:spcPct val="200000"/>
              </a:lnSpc>
              <a:defRPr sz="1632">
                <a:solidFill>
                  <a:schemeClr val="tx2"/>
                </a:solidFill>
              </a:defRPr>
            </a:lvl2pPr>
            <a:lvl3pPr>
              <a:lnSpc>
                <a:spcPct val="200000"/>
              </a:lnSpc>
              <a:defRPr sz="1632">
                <a:solidFill>
                  <a:schemeClr val="tx2"/>
                </a:solidFill>
              </a:defRPr>
            </a:lvl3pPr>
            <a:lvl4pPr>
              <a:lnSpc>
                <a:spcPct val="200000"/>
              </a:lnSpc>
              <a:defRPr sz="1632">
                <a:solidFill>
                  <a:schemeClr val="tx2"/>
                </a:solidFill>
              </a:defRPr>
            </a:lvl4pPr>
            <a:lvl5pPr>
              <a:lnSpc>
                <a:spcPct val="200000"/>
              </a:lnSpc>
              <a:defRPr sz="1632">
                <a:solidFill>
                  <a:schemeClr val="tx2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76442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57">
          <p15:clr>
            <a:srgbClr val="FBAE40"/>
          </p15:clr>
        </p15:guide>
        <p15:guide id="2" orient="horz" pos="2117">
          <p15:clr>
            <a:srgbClr val="FBAE40"/>
          </p15:clr>
        </p15:guide>
        <p15:guide id="3" pos="2880">
          <p15:clr>
            <a:srgbClr val="FBAE40"/>
          </p15:clr>
        </p15:guide>
        <p15:guide id="4" pos="2965">
          <p15:clr>
            <a:srgbClr val="FBAE40"/>
          </p15:clr>
        </p15:guide>
        <p15:guide id="5" pos="2795">
          <p15:clr>
            <a:srgbClr val="FBAE40"/>
          </p15:clr>
        </p15:guide>
        <p15:guide id="6" orient="horz" pos="3977">
          <p15:clr>
            <a:srgbClr val="FBAE40"/>
          </p15:clr>
        </p15:guide>
        <p15:guide id="7" pos="169">
          <p15:clr>
            <a:srgbClr val="FBAE40"/>
          </p15:clr>
        </p15:guide>
        <p15:guide id="8" pos="5585">
          <p15:clr>
            <a:srgbClr val="FBAE40"/>
          </p15:clr>
        </p15:guide>
        <p15:guide id="9" orient="horz" pos="3841">
          <p15:clr>
            <a:srgbClr val="FBAE40"/>
          </p15:clr>
        </p15:guide>
        <p15:guide id="10" orient="horz" pos="393">
          <p15:clr>
            <a:srgbClr val="FBAE40"/>
          </p15:clr>
        </p15:guide>
        <p15:guide id="11" orient="horz" pos="802">
          <p15:clr>
            <a:srgbClr val="FBAE40"/>
          </p15:clr>
        </p15:guide>
        <p15:guide id="12" orient="horz" pos="89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40538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92483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6412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20649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30401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2963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7873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81449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F1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B98159-835E-481C-8768-015FFA1C240D}" type="datetimeFigureOut">
              <a:rPr lang="ru-RU" smtClean="0"/>
              <a:t>25.11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67C04-5264-4B47-9FF2-E6D999DF99C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7924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edical-enc.ru/8/zubnye_protezy.shtml" TargetMode="External"/><Relationship Id="rId2" Type="http://schemas.openxmlformats.org/officeDocument/2006/relationships/hyperlink" Target="http://www.medical-enc.ru/9/inorodnye_tela.shtml" TargetMode="External"/><Relationship Id="rId1" Type="http://schemas.openxmlformats.org/officeDocument/2006/relationships/slideLayout" Target="../slideLayouts/slideLayout4.xml"/><Relationship Id="rId4" Type="http://schemas.openxmlformats.org/officeDocument/2006/relationships/hyperlink" Target="http://www.medical-enc.ru/4/gnoy.shtml" TargetMode="Externa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4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7101" y="1276187"/>
            <a:ext cx="7772400" cy="2387600"/>
          </a:xfrm>
        </p:spPr>
        <p:txBody>
          <a:bodyPr>
            <a:noAutofit/>
          </a:bodyPr>
          <a:lstStyle/>
          <a:p>
            <a:pPr algn="l"/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4800" dirty="0"/>
              <a:t/>
            </a:r>
            <a:br>
              <a:rPr lang="ru-RU" sz="4800" dirty="0"/>
            </a:br>
            <a:r>
              <a:rPr lang="ru-RU" sz="32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32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ФАГИЯ. АСПИРАЦИЯ. МЕТОДЫ ОЦЕНКИ ДИСФАГИИ И ПРОФИЛАКТИКИ АСПИРАЦИИ. ТЕХНИКА ПОСТАНОВКИ НАЗОГАСТРАЛЬНОГО ЗОНДА</a:t>
            </a:r>
            <a:endParaRPr lang="ru-RU" sz="3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03250" y="4055589"/>
            <a:ext cx="6858000" cy="987054"/>
          </a:xfrm>
        </p:spPr>
        <p:txBody>
          <a:bodyPr>
            <a:normAutofit/>
          </a:bodyPr>
          <a:lstStyle/>
          <a:p>
            <a:pPr algn="l"/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рвара Николаевна Брусницына</a:t>
            </a:r>
          </a:p>
          <a:p>
            <a:pPr algn="l"/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ведующая отделением ПМП №3 и 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ДРП</a:t>
            </a: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Подзаголовок 2"/>
          <p:cNvSpPr txBox="1">
            <a:spLocks/>
          </p:cNvSpPr>
          <p:nvPr/>
        </p:nvSpPr>
        <p:spPr>
          <a:xfrm>
            <a:off x="603250" y="5265738"/>
            <a:ext cx="6654274" cy="935037"/>
          </a:xfrm>
          <a:prstGeom prst="rect">
            <a:avLst/>
          </a:prstGeom>
          <a:ln>
            <a:miter lim="800000"/>
            <a:headEnd/>
            <a:tailEnd/>
          </a:ln>
          <a:extLst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  <a:defRPr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сковский многопрофильный центр паллиативной помощи 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партамента здравоохранения города Москвы</a:t>
            </a:r>
          </a:p>
          <a:p>
            <a:pPr marL="0" indent="0">
              <a:buFont typeface="Arial" panose="020B0604020202020204" pitchFamily="34" charset="0"/>
              <a:buNone/>
              <a:defRPr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сква, 2019 г.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34054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46356" y="3823719"/>
            <a:ext cx="7863329" cy="465102"/>
          </a:xfrm>
          <a:prstGeom prst="rect">
            <a:avLst/>
          </a:prstGeom>
          <a:solidFill>
            <a:srgbClr val="87E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46357" y="1738166"/>
            <a:ext cx="7863329" cy="465102"/>
          </a:xfrm>
          <a:prstGeom prst="rect">
            <a:avLst/>
          </a:prstGeom>
          <a:solidFill>
            <a:srgbClr val="87E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539406" y="664948"/>
            <a:ext cx="8192702" cy="479425"/>
          </a:xfrm>
        </p:spPr>
        <p:txBody>
          <a:bodyPr>
            <a:normAutofit fontScale="90000"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КТИКА ВЕДЕНИЯ ПАЦИЕНТОВ С ДИСФАГИЕЙ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6357" y="1750876"/>
            <a:ext cx="3348994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фагии 1-2 </a:t>
            </a: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пени</a:t>
            </a: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храненной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ЖКТ, </a:t>
            </a:r>
            <a:endPara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нания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и</a:t>
            </a:r>
            <a:endPara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тивопоказаний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415421" y="227809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нимо использование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ипинга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 сочетании с загустителе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46356" y="3855635"/>
            <a:ext cx="34559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фагии 3-4 </a:t>
            </a: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пени</a:t>
            </a:r>
            <a:endPara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храненной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ЖКТ и отсутствии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тивопоказаний 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415421" y="435952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комендуется зондовое питание, которое может вводиться через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гастральный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нд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интестинальный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нд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ому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юностом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76120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23568" y="0"/>
            <a:ext cx="9028670" cy="6878595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496065" y="2696435"/>
            <a:ext cx="6076950" cy="1325563"/>
          </a:xfrm>
        </p:spPr>
        <p:txBody>
          <a:bodyPr>
            <a:normAutofit fontScale="90000"/>
          </a:bodyPr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ru-RU" sz="36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ПЫТКА КОРМЛЕНИЯ ПАЦИЕНТА ЧЕРЕЗ РОТ ПРИ ДИСФАГИИ 3-4 СТЕПЕНИ МОЖЕТ ПРИВЕСТИ </a:t>
            </a:r>
            <a:br>
              <a:rPr lang="ru-RU" sz="36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6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 АСПИРАЦИИ!!!    </a:t>
            </a:r>
            <a:r>
              <a:rPr lang="ru-RU" sz="2000" b="1" dirty="0">
                <a:solidFill>
                  <a:srgbClr val="FF0000"/>
                </a:solidFill>
              </a:rPr>
              <a:t/>
            </a:r>
            <a:br>
              <a:rPr lang="ru-RU" sz="2000" b="1" dirty="0">
                <a:solidFill>
                  <a:srgbClr val="FF0000"/>
                </a:solidFill>
              </a:rPr>
            </a:br>
            <a:r>
              <a:rPr lang="ru-RU" sz="2000" b="1" dirty="0">
                <a:solidFill>
                  <a:srgbClr val="FF0000"/>
                </a:solidFill>
              </a:rPr>
              <a:t>                                                                        </a:t>
            </a:r>
            <a:endParaRPr lang="ru-RU" sz="2000" i="1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679003" y="2540556"/>
            <a:ext cx="1619353" cy="1637319"/>
            <a:chOff x="1898600" y="2705383"/>
            <a:chExt cx="1244600" cy="1244600"/>
          </a:xfrm>
          <a:solidFill>
            <a:srgbClr val="E1A198"/>
          </a:solidFill>
        </p:grpSpPr>
        <p:sp>
          <p:nvSpPr>
            <p:cNvPr id="10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11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12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93283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32088" y="243831"/>
            <a:ext cx="7886700" cy="1325563"/>
          </a:xfrm>
        </p:spPr>
        <p:txBody>
          <a:bodyPr>
            <a:normAutofit fontScale="90000"/>
          </a:bodyPr>
          <a:lstStyle/>
          <a:p>
            <a:r>
              <a:rPr lang="ru-RU" sz="1300" dirty="0"/>
              <a:t/>
            </a:r>
            <a:br>
              <a:rPr lang="ru-RU" sz="1300" dirty="0"/>
            </a:br>
            <a:r>
              <a:rPr lang="ru-RU" sz="20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ПЫТКА КОРМЛЕНИЯ ПАЦИЕНТА ЧЕРЕЗ РОТ ПРИ ДИСФАГИИ 3-4 СТЕПЕНИ МОЖЕТ ПРИВЕСТИ К АСПИРАЦИИ   </a:t>
            </a:r>
            <a:r>
              <a:rPr lang="ru-RU" sz="1300" b="1" dirty="0">
                <a:solidFill>
                  <a:srgbClr val="FF0000"/>
                </a:solidFill>
              </a:rPr>
              <a:t/>
            </a:r>
            <a:br>
              <a:rPr lang="ru-RU" sz="1300" b="1" dirty="0">
                <a:solidFill>
                  <a:srgbClr val="FF0000"/>
                </a:solidFill>
              </a:rPr>
            </a:br>
            <a:r>
              <a:rPr lang="ru-RU" sz="2000" b="1" dirty="0">
                <a:solidFill>
                  <a:srgbClr val="FF0000"/>
                </a:solidFill>
              </a:rPr>
              <a:t>                                                                        </a:t>
            </a:r>
            <a:r>
              <a:rPr lang="ru-RU" sz="2000" dirty="0">
                <a:solidFill>
                  <a:srgbClr val="FF0000"/>
                </a:solidFill>
              </a:rPr>
              <a:t/>
            </a:r>
            <a:br>
              <a:rPr lang="ru-RU" sz="2000" dirty="0">
                <a:solidFill>
                  <a:srgbClr val="FF0000"/>
                </a:solidFill>
              </a:rPr>
            </a:b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доскопическая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ртина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218" name="Picture 2" descr="http://pro-rak.com/wp-content/uploads/2017/06/3429_html_m6bc8bc94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1804987"/>
            <a:ext cx="5945459" cy="50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endoscop.tv/contents/albums/preview/180x135/0/70/preview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0931" y="1804987"/>
            <a:ext cx="3041307" cy="228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8238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589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71126" y="1274420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Я-ЭТО…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sz="half" idx="1"/>
          </p:nvPr>
        </p:nvSpPr>
        <p:spPr>
          <a:xfrm>
            <a:off x="586173" y="2599983"/>
            <a:ext cx="7971653" cy="26887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никновение 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дыхательные пути  различных 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2"/>
              </a:rPr>
              <a:t>инородных тел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органического (кусочков пищи, горошин, орехов, рвотных масс) или неорганического характера (шариков, гаек, гвоздей, съемных 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зубных протезов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не удаленных перед началом наркоза, и др.), 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гноя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о</a:t>
            </a:r>
            <a:r>
              <a:rPr lang="ru-RU" dirty="0" smtClean="0"/>
              <a:t>ви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8482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515067" y="2082628"/>
            <a:ext cx="4043167" cy="4201187"/>
          </a:xfrm>
          <a:noFill/>
        </p:spPr>
        <p:txBody>
          <a:bodyPr>
            <a:noAutofit/>
          </a:bodyPr>
          <a:lstStyle/>
          <a:p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я - это </a:t>
            </a:r>
            <a:r>
              <a:rPr lang="ru-RU" sz="2800" dirty="0" err="1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о</a:t>
            </a: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е только пневмония, </a:t>
            </a:r>
            <a:b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ТО ЕЩЕ невидимая боль!  </a:t>
            </a:r>
            <a:r>
              <a:rPr lang="en-US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ращайте внимание на признаки болевого поведения у пациента! </a:t>
            </a:r>
          </a:p>
        </p:txBody>
      </p:sp>
      <p:pic>
        <p:nvPicPr>
          <p:cNvPr id="10242" name="Picture 2" descr="http://karnaval.moscow/published/publicdata/KARNAVALMOSCOW/attachments/SC/products_pictures/image1608902007_enl.jpg"/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08" r="12493"/>
          <a:stretch/>
        </p:blipFill>
        <p:spPr bwMode="auto">
          <a:xfrm>
            <a:off x="4621427" y="6928"/>
            <a:ext cx="4522573" cy="6844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855131" y="771811"/>
            <a:ext cx="1363038" cy="1385730"/>
            <a:chOff x="1898600" y="2705383"/>
            <a:chExt cx="1244600" cy="1244600"/>
          </a:xfrm>
          <a:solidFill>
            <a:srgbClr val="2E418D"/>
          </a:solidFill>
        </p:grpSpPr>
        <p:sp>
          <p:nvSpPr>
            <p:cNvPr id="7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8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9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48644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437971" y="4892098"/>
            <a:ext cx="7863329" cy="39894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37972" y="3259829"/>
            <a:ext cx="7863329" cy="39894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54450" y="1363951"/>
            <a:ext cx="7863329" cy="398945"/>
          </a:xfrm>
          <a:prstGeom prst="rect">
            <a:avLst/>
          </a:prstGeom>
          <a:solidFill>
            <a:srgbClr val="87EF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7974" y="275896"/>
            <a:ext cx="7902721" cy="1030391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ЦЕНКА РИСКА АСПИРАЦИИ</a:t>
            </a:r>
            <a:endParaRPr lang="ru-RU" sz="3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7221" y="1429855"/>
            <a:ext cx="8690919" cy="487067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ЗКИЙ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сное сознание, адекватность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отание сохранено, нет дисфагии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хождение пищевых масс по пищеводу, желудку, кишечнику не затруднено (нет стенозов, паралитической непроходимости, застоя пищи, нарушения переваривания)</a:t>
            </a:r>
            <a:endPara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ЕДНИЙ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наличии назогастральный зонд, </a:t>
            </a:r>
            <a:r>
              <a:rPr lang="ru-RU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ома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/или </a:t>
            </a:r>
            <a:r>
              <a:rPr lang="ru-RU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хеостомическая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рубка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т нарушений прохождения пищевых масс по пищеварительной трубке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сное сознание, адекватность </a:t>
            </a:r>
            <a:endPara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lnSpc>
                <a:spcPct val="120000"/>
              </a:lnSpc>
              <a:buNone/>
            </a:pPr>
            <a:r>
              <a:rPr lang="ru-RU" sz="14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СОКИЙ</a:t>
            </a:r>
            <a:endParaRPr lang="ru-RU" sz="14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овень сознания-оглушение, сопор, кома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если в ясном сознании-неадекватность (психогенная дисфагия)</a:t>
            </a:r>
          </a:p>
          <a:p>
            <a:pPr>
              <a:lnSpc>
                <a:spcPct val="120000"/>
              </a:lnSpc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при этом зонда и/или </a:t>
            </a:r>
            <a:r>
              <a:rPr lang="ru-RU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хеостомической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рубки</a:t>
            </a:r>
          </a:p>
          <a:p>
            <a:pPr marL="0" indent="0" algn="ctr">
              <a:lnSpc>
                <a:spcPct val="120000"/>
              </a:lnSpc>
              <a:buNone/>
            </a:pPr>
            <a:endParaRPr lang="ru-RU" sz="1200" dirty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217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23567" y="-20595"/>
            <a:ext cx="9028670" cy="6878595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003642" y="2152778"/>
            <a:ext cx="7016098" cy="2428225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ЕТ ЛИ МЕНЯТЬСЯ РИСК АСПИРАЦИИ ЗА ВРЕМЯ НАХОЖДЕНИЯ ПАЦИЕНТА В СТАЦИОНАРЕ?</a:t>
            </a:r>
            <a:endParaRPr lang="ru-RU" sz="3200" b="1" dirty="0">
              <a:solidFill>
                <a:srgbClr val="FEF1E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686173" y="2430952"/>
            <a:ext cx="991573" cy="1503040"/>
            <a:chOff x="3841777" y="2807778"/>
            <a:chExt cx="751840" cy="1039851"/>
          </a:xfrm>
          <a:solidFill>
            <a:srgbClr val="E1A198"/>
          </a:solidFill>
        </p:grpSpPr>
        <p:sp>
          <p:nvSpPr>
            <p:cNvPr id="7" name="object 6"/>
            <p:cNvSpPr/>
            <p:nvPr/>
          </p:nvSpPr>
          <p:spPr>
            <a:xfrm>
              <a:off x="4076580" y="3587279"/>
              <a:ext cx="260350" cy="260350"/>
            </a:xfrm>
            <a:custGeom>
              <a:avLst/>
              <a:gdLst/>
              <a:ahLst/>
              <a:cxnLst/>
              <a:rect l="l" t="t" r="r" b="b"/>
              <a:pathLst>
                <a:path w="260350" h="260350">
                  <a:moveTo>
                    <a:pt x="236016" y="0"/>
                  </a:moveTo>
                  <a:lnTo>
                    <a:pt x="23825" y="0"/>
                  </a:lnTo>
                  <a:lnTo>
                    <a:pt x="16243" y="3263"/>
                  </a:lnTo>
                  <a:lnTo>
                    <a:pt x="3251" y="16256"/>
                  </a:lnTo>
                  <a:lnTo>
                    <a:pt x="0" y="23825"/>
                  </a:lnTo>
                  <a:lnTo>
                    <a:pt x="0" y="236042"/>
                  </a:lnTo>
                  <a:lnTo>
                    <a:pt x="3251" y="243636"/>
                  </a:lnTo>
                  <a:lnTo>
                    <a:pt x="16272" y="256616"/>
                  </a:lnTo>
                  <a:lnTo>
                    <a:pt x="23812" y="259854"/>
                  </a:lnTo>
                  <a:lnTo>
                    <a:pt x="236016" y="259854"/>
                  </a:lnTo>
                  <a:lnTo>
                    <a:pt x="243624" y="256603"/>
                  </a:lnTo>
                  <a:lnTo>
                    <a:pt x="256603" y="243636"/>
                  </a:lnTo>
                  <a:lnTo>
                    <a:pt x="259854" y="236042"/>
                  </a:lnTo>
                  <a:lnTo>
                    <a:pt x="259854" y="23825"/>
                  </a:lnTo>
                  <a:lnTo>
                    <a:pt x="256603" y="16256"/>
                  </a:lnTo>
                  <a:lnTo>
                    <a:pt x="243611" y="3251"/>
                  </a:lnTo>
                  <a:lnTo>
                    <a:pt x="236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8" name="object 7"/>
            <p:cNvSpPr/>
            <p:nvPr/>
          </p:nvSpPr>
          <p:spPr>
            <a:xfrm>
              <a:off x="3841777" y="2807778"/>
              <a:ext cx="751840" cy="727710"/>
            </a:xfrm>
            <a:custGeom>
              <a:avLst/>
              <a:gdLst/>
              <a:ahLst/>
              <a:cxnLst/>
              <a:rect l="l" t="t" r="r" b="b"/>
              <a:pathLst>
                <a:path w="751839" h="727710">
                  <a:moveTo>
                    <a:pt x="735794" y="237109"/>
                  </a:moveTo>
                  <a:lnTo>
                    <a:pt x="367169" y="237109"/>
                  </a:lnTo>
                  <a:lnTo>
                    <a:pt x="391204" y="238732"/>
                  </a:lnTo>
                  <a:lnTo>
                    <a:pt x="413762" y="243601"/>
                  </a:lnTo>
                  <a:lnTo>
                    <a:pt x="454469" y="263067"/>
                  </a:lnTo>
                  <a:lnTo>
                    <a:pt x="482776" y="291091"/>
                  </a:lnTo>
                  <a:lnTo>
                    <a:pt x="492213" y="323164"/>
                  </a:lnTo>
                  <a:lnTo>
                    <a:pt x="490944" y="341330"/>
                  </a:lnTo>
                  <a:lnTo>
                    <a:pt x="471919" y="384873"/>
                  </a:lnTo>
                  <a:lnTo>
                    <a:pt x="425933" y="419276"/>
                  </a:lnTo>
                  <a:lnTo>
                    <a:pt x="403694" y="430339"/>
                  </a:lnTo>
                  <a:lnTo>
                    <a:pt x="372694" y="446505"/>
                  </a:lnTo>
                  <a:lnTo>
                    <a:pt x="314633" y="490563"/>
                  </a:lnTo>
                  <a:lnTo>
                    <a:pt x="287591" y="518452"/>
                  </a:lnTo>
                  <a:lnTo>
                    <a:pt x="264497" y="548777"/>
                  </a:lnTo>
                  <a:lnTo>
                    <a:pt x="238108" y="612322"/>
                  </a:lnTo>
                  <a:lnTo>
                    <a:pt x="234810" y="645541"/>
                  </a:lnTo>
                  <a:lnTo>
                    <a:pt x="234810" y="682078"/>
                  </a:lnTo>
                  <a:lnTo>
                    <a:pt x="247825" y="719108"/>
                  </a:lnTo>
                  <a:lnTo>
                    <a:pt x="264045" y="727557"/>
                  </a:lnTo>
                  <a:lnTo>
                    <a:pt x="458927" y="727557"/>
                  </a:lnTo>
                  <a:lnTo>
                    <a:pt x="488961" y="702075"/>
                  </a:lnTo>
                  <a:lnTo>
                    <a:pt x="491401" y="688594"/>
                  </a:lnTo>
                  <a:lnTo>
                    <a:pt x="492796" y="677576"/>
                  </a:lnTo>
                  <a:lnTo>
                    <a:pt x="513727" y="634187"/>
                  </a:lnTo>
                  <a:lnTo>
                    <a:pt x="538799" y="603931"/>
                  </a:lnTo>
                  <a:lnTo>
                    <a:pt x="597563" y="565248"/>
                  </a:lnTo>
                  <a:lnTo>
                    <a:pt x="609082" y="558477"/>
                  </a:lnTo>
                  <a:lnTo>
                    <a:pt x="651862" y="528573"/>
                  </a:lnTo>
                  <a:lnTo>
                    <a:pt x="691173" y="492972"/>
                  </a:lnTo>
                  <a:lnTo>
                    <a:pt x="717960" y="456058"/>
                  </a:lnTo>
                  <a:lnTo>
                    <a:pt x="738670" y="406793"/>
                  </a:lnTo>
                  <a:lnTo>
                    <a:pt x="748115" y="367204"/>
                  </a:lnTo>
                  <a:lnTo>
                    <a:pt x="751255" y="324777"/>
                  </a:lnTo>
                  <a:lnTo>
                    <a:pt x="749173" y="291459"/>
                  </a:lnTo>
                  <a:lnTo>
                    <a:pt x="742927" y="258905"/>
                  </a:lnTo>
                  <a:lnTo>
                    <a:pt x="735794" y="237109"/>
                  </a:lnTo>
                  <a:close/>
                </a:path>
                <a:path w="751839" h="727710">
                  <a:moveTo>
                    <a:pt x="382587" y="0"/>
                  </a:moveTo>
                  <a:lnTo>
                    <a:pt x="329179" y="2666"/>
                  </a:lnTo>
                  <a:lnTo>
                    <a:pt x="278657" y="10666"/>
                  </a:lnTo>
                  <a:lnTo>
                    <a:pt x="231021" y="23998"/>
                  </a:lnTo>
                  <a:lnTo>
                    <a:pt x="186271" y="42664"/>
                  </a:lnTo>
                  <a:lnTo>
                    <a:pt x="144408" y="66663"/>
                  </a:lnTo>
                  <a:lnTo>
                    <a:pt x="105431" y="95995"/>
                  </a:lnTo>
                  <a:lnTo>
                    <a:pt x="69340" y="130659"/>
                  </a:lnTo>
                  <a:lnTo>
                    <a:pt x="36135" y="170657"/>
                  </a:lnTo>
                  <a:lnTo>
                    <a:pt x="5816" y="215988"/>
                  </a:lnTo>
                  <a:lnTo>
                    <a:pt x="0" y="230606"/>
                  </a:lnTo>
                  <a:lnTo>
                    <a:pt x="2717" y="246837"/>
                  </a:lnTo>
                  <a:lnTo>
                    <a:pt x="6908" y="253606"/>
                  </a:lnTo>
                  <a:lnTo>
                    <a:pt x="147116" y="360527"/>
                  </a:lnTo>
                  <a:lnTo>
                    <a:pt x="154152" y="364858"/>
                  </a:lnTo>
                  <a:lnTo>
                    <a:pt x="160921" y="367017"/>
                  </a:lnTo>
                  <a:lnTo>
                    <a:pt x="167411" y="367017"/>
                  </a:lnTo>
                  <a:lnTo>
                    <a:pt x="219943" y="320785"/>
                  </a:lnTo>
                  <a:lnTo>
                    <a:pt x="243543" y="294141"/>
                  </a:lnTo>
                  <a:lnTo>
                    <a:pt x="279488" y="260642"/>
                  </a:lnTo>
                  <a:lnTo>
                    <a:pt x="318862" y="242989"/>
                  </a:lnTo>
                  <a:lnTo>
                    <a:pt x="367169" y="237109"/>
                  </a:lnTo>
                  <a:lnTo>
                    <a:pt x="735794" y="237109"/>
                  </a:lnTo>
                  <a:lnTo>
                    <a:pt x="732524" y="227118"/>
                  </a:lnTo>
                  <a:lnTo>
                    <a:pt x="700102" y="166629"/>
                  </a:lnTo>
                  <a:lnTo>
                    <a:pt x="657063" y="114863"/>
                  </a:lnTo>
                  <a:lnTo>
                    <a:pt x="604688" y="72507"/>
                  </a:lnTo>
                  <a:lnTo>
                    <a:pt x="545406" y="38808"/>
                  </a:lnTo>
                  <a:lnTo>
                    <a:pt x="480496" y="14149"/>
                  </a:lnTo>
                  <a:lnTo>
                    <a:pt x="415125" y="1571"/>
                  </a:lnTo>
                  <a:lnTo>
                    <a:pt x="38258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49156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3054535"/>
              </p:ext>
            </p:extLst>
          </p:nvPr>
        </p:nvGraphicFramePr>
        <p:xfrm>
          <a:off x="742791" y="676244"/>
          <a:ext cx="7845040" cy="1287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00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88740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</a:t>
                      </a:r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ЕПЕНЬ</a:t>
                      </a:r>
                      <a:r>
                        <a:rPr lang="en-US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ИСКА</a:t>
                      </a: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СПИРАЦИИ</a:t>
                      </a:r>
                    </a:p>
                    <a:p>
                      <a:pPr algn="l"/>
                      <a:endParaRPr lang="ru-RU" sz="1600" dirty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</a:t>
                      </a: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НИЗКИЙ</a:t>
                      </a:r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3352801" y="676244"/>
            <a:ext cx="0" cy="129326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H="1">
            <a:off x="3348589" y="1964034"/>
            <a:ext cx="4212" cy="445083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V="1">
            <a:off x="930876" y="4917989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664750" y="2857864"/>
            <a:ext cx="2581398" cy="948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20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ОВ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И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381415" y="2113847"/>
            <a:ext cx="5062370" cy="246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сное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нание, адекватное поведение пациента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рининг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глотания проведен, дисфагии нет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хождение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ищевых масс по ЖКТ не затруднено (нет стенозов, нарушения переваривания, застоя пищи, непроходимости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1750226" y="5184753"/>
            <a:ext cx="1495922" cy="5955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ЙСТВИЯ </a:t>
            </a:r>
          </a:p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ОНАЛА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690551" y="5072812"/>
            <a:ext cx="5025082" cy="981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нять головной конец кровати (посадить пациента) и не опускать в течение 40 мин после окончания кормления</a:t>
            </a:r>
          </a:p>
        </p:txBody>
      </p:sp>
    </p:spTree>
    <p:extLst>
      <p:ext uri="{BB962C8B-B14F-4D97-AF65-F5344CB8AC3E}">
        <p14:creationId xmlns:p14="http://schemas.microsoft.com/office/powerpoint/2010/main" val="1704622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8872866"/>
              </p:ext>
            </p:extLst>
          </p:nvPr>
        </p:nvGraphicFramePr>
        <p:xfrm>
          <a:off x="742791" y="676244"/>
          <a:ext cx="7845040" cy="1287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00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88740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</a:t>
                      </a:r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ЕПЕНЬ</a:t>
                      </a:r>
                      <a:r>
                        <a:rPr lang="en-US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ИСКА</a:t>
                      </a: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СПИРАЦИИ</a:t>
                      </a:r>
                    </a:p>
                    <a:p>
                      <a:pPr algn="l"/>
                      <a:endParaRPr lang="ru-RU" sz="1600" dirty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</a:t>
                      </a: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СРЕДНИЙ</a:t>
                      </a:r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3352801" y="1964034"/>
            <a:ext cx="0" cy="450933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914400" y="4473251"/>
            <a:ext cx="7548554" cy="6017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3352801" y="676244"/>
            <a:ext cx="0" cy="129326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664750" y="2857864"/>
            <a:ext cx="2581398" cy="948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20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ОВ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И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50226" y="5184753"/>
            <a:ext cx="1495922" cy="5955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ЙСТВИЯ </a:t>
            </a:r>
          </a:p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ОНАЛА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61785" y="2016030"/>
            <a:ext cx="5163174" cy="24632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ясное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нание, адекватное поведение пациента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рининг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глотания проведен, наличие дисфагии 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и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гастральный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нд и \ или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хеостомическая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рубка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т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рушений прохождения пищевых масс по ЖКТ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446857" y="4732503"/>
            <a:ext cx="5276991" cy="1574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нять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ловной конец кровати (посадить пациента) и не опускать в течение 40 мин после окончания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мления                                                                                                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рять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ходимость зонда, вводить питание в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нд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ленно </a:t>
            </a:r>
          </a:p>
        </p:txBody>
      </p:sp>
    </p:spTree>
    <p:extLst>
      <p:ext uri="{BB962C8B-B14F-4D97-AF65-F5344CB8AC3E}">
        <p14:creationId xmlns:p14="http://schemas.microsoft.com/office/powerpoint/2010/main" val="33718124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1833714"/>
              </p:ext>
            </p:extLst>
          </p:nvPr>
        </p:nvGraphicFramePr>
        <p:xfrm>
          <a:off x="742791" y="417523"/>
          <a:ext cx="7845040" cy="12877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41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00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88740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</a:t>
                      </a:r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СТЕПЕНЬ</a:t>
                      </a:r>
                      <a:r>
                        <a:rPr lang="en-US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РИСКА</a:t>
                      </a:r>
                    </a:p>
                    <a:p>
                      <a:pPr algn="r"/>
                      <a:r>
                        <a:rPr lang="ru-RU" sz="1600" baseline="0" dirty="0" smtClean="0">
                          <a:solidFill>
                            <a:srgbClr val="FEF1E8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АСПИРАЦИИ</a:t>
                      </a:r>
                    </a:p>
                    <a:p>
                      <a:pPr algn="l"/>
                      <a:endParaRPr lang="ru-RU" sz="1600" dirty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</a:t>
                      </a: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ВЫСОКИЙ</a:t>
                      </a:r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3377515" y="1705313"/>
            <a:ext cx="0" cy="454074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730434" y="4088535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3377515" y="417523"/>
            <a:ext cx="0" cy="129326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730434" y="2643992"/>
            <a:ext cx="2581398" cy="9485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2000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</a:t>
            </a: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ОВ </a:t>
            </a:r>
          </a:p>
          <a:p>
            <a:pPr indent="23495"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И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801055" y="4609199"/>
            <a:ext cx="1495922" cy="59554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ЙСТВИЯ </a:t>
            </a:r>
          </a:p>
          <a:p>
            <a:pPr algn="r">
              <a:lnSpc>
                <a:spcPct val="107000"/>
              </a:lnSpc>
              <a:spcAft>
                <a:spcPts val="0"/>
              </a:spcAft>
            </a:pPr>
            <a:r>
              <a:rPr lang="ru-RU" sz="16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СОНАЛА</a:t>
            </a:r>
            <a:endParaRPr lang="ru-RU" sz="16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406129" y="1757971"/>
            <a:ext cx="5433071" cy="2265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ровен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нания – оглушение, сопор, кома, при ясном сознании – неадекватное поведение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рининг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глотания проведен, наличие дисфагии/скрининг функции глотания провести невозможно по тяжести состояния пациента, полная дисфагия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этом 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гастрального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нда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\или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хеостомической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рубки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406129" y="4155842"/>
            <a:ext cx="5337873" cy="1936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нят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ловной конец кровати и не опускать в течение 40 мин после окончания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мления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рят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ходимость зонда, вводить питание в зонд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ленно</a:t>
            </a:r>
          </a:p>
          <a:p>
            <a:pPr marL="285750" indent="-2857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ироват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ржимо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ахеостомической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рубки при санации, в санированных массах не должно быть следов пищи</a:t>
            </a:r>
          </a:p>
        </p:txBody>
      </p:sp>
    </p:spTree>
    <p:extLst>
      <p:ext uri="{BB962C8B-B14F-4D97-AF65-F5344CB8AC3E}">
        <p14:creationId xmlns:p14="http://schemas.microsoft.com/office/powerpoint/2010/main" val="20278644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726108" y="2043115"/>
            <a:ext cx="5824894" cy="240069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ьшинство паллиативных пациентов имеют проблемы с глотанием, поэтому медицинскому персоналу необходимы знания о том, как вовремя заметить нарушения глотания и что с этим делать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87841" y="2342345"/>
            <a:ext cx="1593886" cy="1588720"/>
            <a:chOff x="1898600" y="2705383"/>
            <a:chExt cx="1244600" cy="1244600"/>
          </a:xfrm>
          <a:solidFill>
            <a:srgbClr val="2E418D"/>
          </a:solidFill>
        </p:grpSpPr>
        <p:sp>
          <p:nvSpPr>
            <p:cNvPr id="6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7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8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18918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40043" y="-20595"/>
            <a:ext cx="9028670" cy="6878595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11"/>
          </p:nvPr>
        </p:nvSpPr>
        <p:spPr>
          <a:xfrm>
            <a:off x="834997" y="2048398"/>
            <a:ext cx="6752051" cy="2511585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НОВКА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ГАСТРАЛЬНОГО ЗОНДА</a:t>
            </a:r>
            <a:endParaRPr lang="ru-RU" sz="3200" b="1" dirty="0">
              <a:solidFill>
                <a:srgbClr val="FEF1E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73353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ПОДГОТОВИТЬ ДЛЯ ПОСТАНОВКИ ЗОНДА?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7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удочный зонд  </a:t>
            </a:r>
          </a:p>
          <a:p>
            <a:pPr>
              <a:lnSpc>
                <a:spcPct val="17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рильное вазелиновое масло или глицерин,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джель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>
              <a:lnSpc>
                <a:spcPct val="17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кан с водой 30-50 мл и трубочкой для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итья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приц </a:t>
            </a:r>
            <a:r>
              <a:rPr lang="ru-RU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нэ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ейкопластырь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half" idx="2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жим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жницы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глушка для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нда</a:t>
            </a: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оток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отенце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алфетки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7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чатки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1102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6229" y="348651"/>
            <a:ext cx="6653599" cy="1051782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ОР И ПОДГОТОВКА ЗОНДА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06229" y="1932717"/>
            <a:ext cx="7503207" cy="3232407"/>
          </a:xfrm>
        </p:spPr>
        <p:txBody>
          <a:bodyPr>
            <a:noAutofit/>
          </a:bodyPr>
          <a:lstStyle/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бирайте минимальный размер зонда</a:t>
            </a:r>
          </a:p>
          <a:p>
            <a:pPr marL="457200" lvl="1" indent="0">
              <a:buNone/>
            </a:pP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  <a:r>
              <a:rPr lang="en-US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/</a:t>
            </a:r>
            <a:r>
              <a:rPr lang="en-US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/</a:t>
            </a:r>
            <a:r>
              <a:rPr lang="en-US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6/</a:t>
            </a:r>
            <a:r>
              <a:rPr lang="en-US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/</a:t>
            </a:r>
            <a:r>
              <a:rPr lang="en-US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4</a:t>
            </a:r>
          </a:p>
          <a:p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естите зонд в морозильную камеру на 1,5 часа</a:t>
            </a:r>
          </a:p>
          <a:p>
            <a:pPr lvl="1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делает зонд жестче</a:t>
            </a:r>
          </a:p>
          <a:p>
            <a:pPr lvl="1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ростит процедуру установки зонда</a:t>
            </a:r>
          </a:p>
          <a:p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экстренной ситуации конец зонда помещают в лоток со льдом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2532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25050" y="0"/>
            <a:ext cx="4490632" cy="757881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Ы ЗОНДОВ</a:t>
            </a:r>
            <a:endParaRPr lang="ru-RU" sz="2000" b="1" dirty="0">
              <a:solidFill>
                <a:schemeClr val="accent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Текст 6"/>
          <p:cNvSpPr>
            <a:spLocks noGrp="1"/>
          </p:cNvSpPr>
          <p:nvPr>
            <p:ph sz="half" idx="2"/>
          </p:nvPr>
        </p:nvSpPr>
        <p:spPr>
          <a:xfrm>
            <a:off x="499190" y="1455617"/>
            <a:ext cx="8257631" cy="130931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аще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его предназначены для одноразового применения </a:t>
            </a:r>
          </a:p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лежат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тилизации сразу после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мления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: отсутствие в состав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талатов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большой выбор размеров, низкая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на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Picture 2" descr="http://lavka-panteleya.ru/d/1523166/d/zondy_pitatelnyy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90" y="2764928"/>
            <a:ext cx="7038432" cy="41217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5050" y="757881"/>
            <a:ext cx="245451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ВХ ЗОНДЫ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9622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бъект 9"/>
          <p:cNvSpPr>
            <a:spLocks noGrp="1"/>
          </p:cNvSpPr>
          <p:nvPr>
            <p:ph sz="quarter" idx="4"/>
          </p:nvPr>
        </p:nvSpPr>
        <p:spPr>
          <a:xfrm>
            <a:off x="608888" y="4667218"/>
            <a:ext cx="7777231" cy="1518081"/>
          </a:xfrm>
        </p:spPr>
        <p:txBody>
          <a:bodyPr>
            <a:noAutofit/>
          </a:bodyPr>
          <a:lstStyle/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зрачен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термопластичен, т.е. из-за тепла, выделяемого тканями организма, размягчается, что упрощает его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Устойчив к воздействию желудочных кислот и позволяет устанавливать изделие до 30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ней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нтгеноконтрастная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линия по всей длине зонда помогает не терять его в организме пациента – при рентген-исследовании изделие всегда будет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но</a:t>
            </a:r>
            <a:endParaRPr lang="ru-RU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098" name="Picture 2" descr="https://cdn.onthewards.org/wp-content/uploads/2016/01/DAD80F700E5C45ACA5EC87F3E965C00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083" y="1624446"/>
            <a:ext cx="5527813" cy="279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9" name="Заголовок 4"/>
          <p:cNvSpPr>
            <a:spLocks noGrp="1"/>
          </p:cNvSpPr>
          <p:nvPr>
            <p:ph type="title"/>
          </p:nvPr>
        </p:nvSpPr>
        <p:spPr>
          <a:xfrm>
            <a:off x="425050" y="0"/>
            <a:ext cx="4490632" cy="757881"/>
          </a:xfrm>
        </p:spPr>
        <p:txBody>
          <a:bodyPr>
            <a:normAutofit/>
          </a:bodyPr>
          <a:lstStyle/>
          <a:p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ИДЫ ЗОНДОВ</a:t>
            </a:r>
            <a:endParaRPr lang="ru-RU" sz="2000" b="1" dirty="0">
              <a:solidFill>
                <a:schemeClr val="accent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25050" y="903881"/>
            <a:ext cx="771878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ИУРЕТАНОВЫЙ НАЗОГАСТРАЛЬНЫЙ ЗОНД</a:t>
            </a:r>
            <a:endParaRPr lang="ru-RU" sz="24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76222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СПОМНИМ АНАТОМИЮ…</a:t>
            </a:r>
            <a:b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ВИЖЕНИЕ ПИЩЕВОГО КОМКА </a:t>
            </a:r>
            <a:endParaRPr lang="ru-RU" sz="2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50" name="Picture 2" descr="http://www.alriyadh.com/media/thumb/ae/18/750_e50baa953d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86" y="2209055"/>
            <a:ext cx="8964114" cy="373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2235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9782" b="-60"/>
          <a:stretch/>
        </p:blipFill>
        <p:spPr>
          <a:xfrm>
            <a:off x="4783015" y="2173550"/>
            <a:ext cx="4360985" cy="322448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753" y="247131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А К ПРОЦЕДУРЕ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9753" y="2173550"/>
            <a:ext cx="4562075" cy="2250994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ru-RU" sz="20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</a:t>
            </a: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Г 1</a:t>
            </a:r>
          </a:p>
          <a:p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ъясните 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у и его близким цель предстоящей процедуры и методику установки зонда! </a:t>
            </a: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ветьте на их вопросы</a:t>
            </a: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лучите устное согласие пациента на проведении процедуры. В случае отказа – оформите письменный отказ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1160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368" y="0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А К ПРОЦЕДУРЕ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9368" y="1637617"/>
            <a:ext cx="851535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Г 2 </a:t>
            </a:r>
          </a:p>
          <a:p>
            <a:pPr marL="0" indent="0">
              <a:buNone/>
            </a:pP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ределить 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иболее подходящую для введения зонда половину носа (если пациент в сознании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0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жать сначала одно крыло носа и попросить пациента дышать другим, закрыв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от</a:t>
            </a:r>
          </a:p>
          <a:p>
            <a:pPr marL="457200" lvl="1" indent="0">
              <a:buNone/>
            </a:pP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тем повторить эти действия с другим крылом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са</a:t>
            </a: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3909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9368" y="1740244"/>
            <a:ext cx="3886200" cy="4351338"/>
          </a:xfrm>
        </p:spPr>
        <p:txBody>
          <a:bodyPr>
            <a:normAutofit fontScale="70000" lnSpcReduction="20000"/>
          </a:bodyPr>
          <a:lstStyle/>
          <a:p>
            <a:pPr marL="0" lvl="0" indent="0">
              <a:buNone/>
            </a:pP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пределить расстояние, на которое следует ввести зонд (расстояние от кончика носа до мочки уха и вниз по передней брюшной стенке так, чтобы последнее отверстие зонда было ниже мечевидного отростка) и поместите зонд в морозильную камеру (рекомендуется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чь пациенту принять высокое положение </a:t>
            </a:r>
            <a:r>
              <a:rPr lang="ru-RU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аулера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рыть грудь пациента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отенцем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endParaRPr lang="ru-RU" sz="2000" dirty="0"/>
          </a:p>
          <a:p>
            <a:endParaRPr lang="ru-RU" dirty="0"/>
          </a:p>
        </p:txBody>
      </p:sp>
      <p:pic>
        <p:nvPicPr>
          <p:cNvPr id="7170" name="Picture 2" descr="https://sun9-5.userapi.com/c840724/v840724394/b689/eEsNQHL3TJI.jpg"/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77" b="2677"/>
          <a:stretch/>
        </p:blipFill>
        <p:spPr bwMode="auto">
          <a:xfrm>
            <a:off x="4457794" y="1970903"/>
            <a:ext cx="4686206" cy="367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89368" y="-25638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ГОТОВКА К ПРОЦЕДУРЕ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46518" y="1284944"/>
            <a:ext cx="135806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2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аг 3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1587818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cdn.pixabay.com/photo/2016/01/29/20/54/dog-1168663__34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554" y="2144487"/>
            <a:ext cx="4198446" cy="314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3103" y="412447"/>
            <a:ext cx="6691674" cy="1732040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ИЕ ПРОЦЕДУРЫ</a:t>
            </a:r>
            <a:b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600" dirty="0">
                <a:solidFill>
                  <a:srgbClr val="002060"/>
                </a:solidFill>
              </a:rPr>
              <a:t/>
            </a:r>
            <a:br>
              <a:rPr lang="ru-RU" sz="3600" dirty="0">
                <a:solidFill>
                  <a:srgbClr val="002060"/>
                </a:solidFill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3554" y="2144487"/>
            <a:ext cx="4338233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мыть и осушить руки. Надеть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чатки</a:t>
            </a:r>
          </a:p>
          <a:p>
            <a:pPr lvl="0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анестезии и облегчения постановки: обильно обработать слепой конец зонда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джелем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гель с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докаином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  Если нет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джеля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проведите местную анестезию полости носа и глотки орошением  10%-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спрея 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докаин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 Если нет 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джеля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докаина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– смажьте слепой конец зонда глицерином для облегчения постановки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53103" y="5459330"/>
            <a:ext cx="83773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просить пациента слегка запрокинуть назад голову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ести зонд через нижний носовой ход на расстояние 15—18 см и попросить пациента наклонить голову впере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4860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Ð¡Ð¿Ð°ÑÐ¶Ð°, Ð¡ÑÐµÐ¹Ðº, Ð¡ÑÐµÐ¹Ðº ÐÐ· Ð¢ÐµÐ»ÑÑÐ¸Ð½Ñ"/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190" b="4459"/>
          <a:stretch/>
        </p:blipFill>
        <p:spPr bwMode="auto">
          <a:xfrm>
            <a:off x="4853354" y="2085125"/>
            <a:ext cx="4290646" cy="3257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7635" y="610868"/>
            <a:ext cx="7886700" cy="1224392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 ЧЕМ ПОГОВОРИМ… </a:t>
            </a: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19161" y="2085125"/>
            <a:ext cx="4534193" cy="3310397"/>
          </a:xfrm>
        </p:spPr>
        <p:txBody>
          <a:bodyPr anchor="ctr">
            <a:noAutofit/>
          </a:bodyPr>
          <a:lstStyle/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то такое дисфагия? </a:t>
            </a:r>
          </a:p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пени дисфагии и </a:t>
            </a:r>
            <a:r>
              <a:rPr lang="ru-RU" sz="18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хглотковая</a:t>
            </a: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ба</a:t>
            </a:r>
          </a:p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одика постановки </a:t>
            </a:r>
            <a:r>
              <a:rPr lang="ru-RU" sz="18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зогастрального</a:t>
            </a: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зонда</a:t>
            </a:r>
          </a:p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епени риска развития аспирации</a:t>
            </a:r>
          </a:p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илактика аспирации</a:t>
            </a:r>
          </a:p>
          <a:p>
            <a:pPr lvl="0">
              <a:lnSpc>
                <a:spcPct val="100000"/>
              </a:lnSpc>
            </a:pPr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м и как кормить пациентов с дисфагией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496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https://cdn.pixabay.com/photo/2016/01/29/20/54/dog-1168663__34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5554" y="2087801"/>
            <a:ext cx="4198446" cy="314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3103" y="208582"/>
            <a:ext cx="6691674" cy="1331913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rgbClr val="002060"/>
                </a:solidFill>
              </a:rPr>
              <a:t/>
            </a:r>
            <a:br>
              <a:rPr lang="ru-RU" sz="3600" dirty="0">
                <a:solidFill>
                  <a:srgbClr val="002060"/>
                </a:solidFill>
              </a:rPr>
            </a:br>
            <a:r>
              <a:rPr lang="ru-RU" sz="2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ИЕ ПРОЦЕДУРЫ</a:t>
            </a:r>
            <a:r>
              <a:rPr lang="ru-RU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85654" y="3071335"/>
            <a:ext cx="4225497" cy="216064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 может 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отать:</a:t>
            </a:r>
          </a:p>
          <a:p>
            <a:pPr marL="0" indent="0">
              <a:buNone/>
            </a:pPr>
            <a:endPara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просить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го делать мелкие глотательные движения или дать пациенту стакан с водой и трубочкой для питья. Попросить пить мелкими глотками, заглатывая зонд. Можно добавить в воду кусочек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ьда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85654" y="5363784"/>
            <a:ext cx="76861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азу, как только зонд проглочен, ВАЖНО убедиться, что пациент может говорить и свободно дышать – то есть зонд не попал в трахею. После этого мягко продвигать зонд до нужной отметки</a:t>
            </a:r>
            <a:endParaRPr lang="ru-RU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18556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515" y="322923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ИЕ ПРОЦЕДУРЫ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6606" y="1825625"/>
            <a:ext cx="7776518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бедиться в правильном местоположении зонда в желудке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en-US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вести в желудок около 20 мл воздуха с помощью шприца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анэ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ыслушивая при этом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пигастральную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область</a:t>
            </a:r>
          </a:p>
          <a:p>
            <a:pPr marL="457200" lvl="1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lvl="1" indent="0"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</a:t>
            </a:r>
          </a:p>
          <a:p>
            <a:pPr marL="457200" lvl="1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1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соединить шприц к зонду: при подтягивании поршня на себя в зонд должно начать поступать содержимое желудка (вода и желудочный сок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59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3080" y="1825625"/>
            <a:ext cx="5107461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лучае необходимости оставить зонд на длительное время: отрезать пластырь длиной 10 см, разрезать его пополам в длину на 5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м 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репить неразрезанную часть лейкопластыря к спинке носа. Обернуть каждой разрезанной полоской лейкопластыря зонд и закрепить полоски крест-накрест на спинке носа, избегая надавливания на крылья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оса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!ЖЕЛАТЕЛЬНО ИСПОЛЬЗОВАТЬ МАКСИМАЛЬНО ЩАДЯЩИЙ ПЛАСТРЫРЬ (на тканой основе). Обычный пластырь больно удалять, вызывает аллергию и раздражение на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же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  <a:p>
            <a:endParaRPr lang="ru-RU" dirty="0"/>
          </a:p>
        </p:txBody>
      </p:sp>
      <p:pic>
        <p:nvPicPr>
          <p:cNvPr id="6146" name="Picture 2" descr="Картинки по запросу кормление через назогастральный зонд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4620" y="1488428"/>
            <a:ext cx="3439380" cy="468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77396" y="36924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ОЛНЕНИЕ ПРОЦЕДУРЫ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10352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734" y="165229"/>
            <a:ext cx="3263771" cy="6527542"/>
          </a:xfrm>
        </p:spPr>
      </p:pic>
      <p:pic>
        <p:nvPicPr>
          <p:cNvPr id="6" name="Объект 5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5935" y="2300159"/>
            <a:ext cx="5192994" cy="4392612"/>
          </a:xfrm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891583" y="348109"/>
            <a:ext cx="1114127" cy="1508825"/>
            <a:chOff x="3841777" y="2807778"/>
            <a:chExt cx="751840" cy="1039851"/>
          </a:xfrm>
          <a:solidFill>
            <a:srgbClr val="2E418D"/>
          </a:solidFill>
        </p:grpSpPr>
        <p:sp>
          <p:nvSpPr>
            <p:cNvPr id="9" name="object 6"/>
            <p:cNvSpPr/>
            <p:nvPr/>
          </p:nvSpPr>
          <p:spPr>
            <a:xfrm>
              <a:off x="4076580" y="3587279"/>
              <a:ext cx="260350" cy="260350"/>
            </a:xfrm>
            <a:custGeom>
              <a:avLst/>
              <a:gdLst/>
              <a:ahLst/>
              <a:cxnLst/>
              <a:rect l="l" t="t" r="r" b="b"/>
              <a:pathLst>
                <a:path w="260350" h="260350">
                  <a:moveTo>
                    <a:pt x="236016" y="0"/>
                  </a:moveTo>
                  <a:lnTo>
                    <a:pt x="23825" y="0"/>
                  </a:lnTo>
                  <a:lnTo>
                    <a:pt x="16243" y="3263"/>
                  </a:lnTo>
                  <a:lnTo>
                    <a:pt x="3251" y="16256"/>
                  </a:lnTo>
                  <a:lnTo>
                    <a:pt x="0" y="23825"/>
                  </a:lnTo>
                  <a:lnTo>
                    <a:pt x="0" y="236042"/>
                  </a:lnTo>
                  <a:lnTo>
                    <a:pt x="3251" y="243636"/>
                  </a:lnTo>
                  <a:lnTo>
                    <a:pt x="16272" y="256616"/>
                  </a:lnTo>
                  <a:lnTo>
                    <a:pt x="23812" y="259854"/>
                  </a:lnTo>
                  <a:lnTo>
                    <a:pt x="236016" y="259854"/>
                  </a:lnTo>
                  <a:lnTo>
                    <a:pt x="243624" y="256603"/>
                  </a:lnTo>
                  <a:lnTo>
                    <a:pt x="256603" y="243636"/>
                  </a:lnTo>
                  <a:lnTo>
                    <a:pt x="259854" y="236042"/>
                  </a:lnTo>
                  <a:lnTo>
                    <a:pt x="259854" y="23825"/>
                  </a:lnTo>
                  <a:lnTo>
                    <a:pt x="256603" y="16256"/>
                  </a:lnTo>
                  <a:lnTo>
                    <a:pt x="243611" y="3251"/>
                  </a:lnTo>
                  <a:lnTo>
                    <a:pt x="236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10" name="object 7"/>
            <p:cNvSpPr/>
            <p:nvPr/>
          </p:nvSpPr>
          <p:spPr>
            <a:xfrm>
              <a:off x="3841777" y="2807778"/>
              <a:ext cx="751840" cy="727710"/>
            </a:xfrm>
            <a:custGeom>
              <a:avLst/>
              <a:gdLst/>
              <a:ahLst/>
              <a:cxnLst/>
              <a:rect l="l" t="t" r="r" b="b"/>
              <a:pathLst>
                <a:path w="751839" h="727710">
                  <a:moveTo>
                    <a:pt x="735794" y="237109"/>
                  </a:moveTo>
                  <a:lnTo>
                    <a:pt x="367169" y="237109"/>
                  </a:lnTo>
                  <a:lnTo>
                    <a:pt x="391204" y="238732"/>
                  </a:lnTo>
                  <a:lnTo>
                    <a:pt x="413762" y="243601"/>
                  </a:lnTo>
                  <a:lnTo>
                    <a:pt x="454469" y="263067"/>
                  </a:lnTo>
                  <a:lnTo>
                    <a:pt x="482776" y="291091"/>
                  </a:lnTo>
                  <a:lnTo>
                    <a:pt x="492213" y="323164"/>
                  </a:lnTo>
                  <a:lnTo>
                    <a:pt x="490944" y="341330"/>
                  </a:lnTo>
                  <a:lnTo>
                    <a:pt x="471919" y="384873"/>
                  </a:lnTo>
                  <a:lnTo>
                    <a:pt x="425933" y="419276"/>
                  </a:lnTo>
                  <a:lnTo>
                    <a:pt x="403694" y="430339"/>
                  </a:lnTo>
                  <a:lnTo>
                    <a:pt x="372694" y="446505"/>
                  </a:lnTo>
                  <a:lnTo>
                    <a:pt x="314633" y="490563"/>
                  </a:lnTo>
                  <a:lnTo>
                    <a:pt x="287591" y="518452"/>
                  </a:lnTo>
                  <a:lnTo>
                    <a:pt x="264497" y="548777"/>
                  </a:lnTo>
                  <a:lnTo>
                    <a:pt x="238108" y="612322"/>
                  </a:lnTo>
                  <a:lnTo>
                    <a:pt x="234810" y="645541"/>
                  </a:lnTo>
                  <a:lnTo>
                    <a:pt x="234810" y="682078"/>
                  </a:lnTo>
                  <a:lnTo>
                    <a:pt x="247825" y="719108"/>
                  </a:lnTo>
                  <a:lnTo>
                    <a:pt x="264045" y="727557"/>
                  </a:lnTo>
                  <a:lnTo>
                    <a:pt x="458927" y="727557"/>
                  </a:lnTo>
                  <a:lnTo>
                    <a:pt x="488961" y="702075"/>
                  </a:lnTo>
                  <a:lnTo>
                    <a:pt x="491401" y="688594"/>
                  </a:lnTo>
                  <a:lnTo>
                    <a:pt x="492796" y="677576"/>
                  </a:lnTo>
                  <a:lnTo>
                    <a:pt x="513727" y="634187"/>
                  </a:lnTo>
                  <a:lnTo>
                    <a:pt x="538799" y="603931"/>
                  </a:lnTo>
                  <a:lnTo>
                    <a:pt x="597563" y="565248"/>
                  </a:lnTo>
                  <a:lnTo>
                    <a:pt x="609082" y="558477"/>
                  </a:lnTo>
                  <a:lnTo>
                    <a:pt x="651862" y="528573"/>
                  </a:lnTo>
                  <a:lnTo>
                    <a:pt x="691173" y="492972"/>
                  </a:lnTo>
                  <a:lnTo>
                    <a:pt x="717960" y="456058"/>
                  </a:lnTo>
                  <a:lnTo>
                    <a:pt x="738670" y="406793"/>
                  </a:lnTo>
                  <a:lnTo>
                    <a:pt x="748115" y="367204"/>
                  </a:lnTo>
                  <a:lnTo>
                    <a:pt x="751255" y="324777"/>
                  </a:lnTo>
                  <a:lnTo>
                    <a:pt x="749173" y="291459"/>
                  </a:lnTo>
                  <a:lnTo>
                    <a:pt x="742927" y="258905"/>
                  </a:lnTo>
                  <a:lnTo>
                    <a:pt x="735794" y="237109"/>
                  </a:lnTo>
                  <a:close/>
                </a:path>
                <a:path w="751839" h="727710">
                  <a:moveTo>
                    <a:pt x="382587" y="0"/>
                  </a:moveTo>
                  <a:lnTo>
                    <a:pt x="329179" y="2666"/>
                  </a:lnTo>
                  <a:lnTo>
                    <a:pt x="278657" y="10666"/>
                  </a:lnTo>
                  <a:lnTo>
                    <a:pt x="231021" y="23998"/>
                  </a:lnTo>
                  <a:lnTo>
                    <a:pt x="186271" y="42664"/>
                  </a:lnTo>
                  <a:lnTo>
                    <a:pt x="144408" y="66663"/>
                  </a:lnTo>
                  <a:lnTo>
                    <a:pt x="105431" y="95995"/>
                  </a:lnTo>
                  <a:lnTo>
                    <a:pt x="69340" y="130659"/>
                  </a:lnTo>
                  <a:lnTo>
                    <a:pt x="36135" y="170657"/>
                  </a:lnTo>
                  <a:lnTo>
                    <a:pt x="5816" y="215988"/>
                  </a:lnTo>
                  <a:lnTo>
                    <a:pt x="0" y="230606"/>
                  </a:lnTo>
                  <a:lnTo>
                    <a:pt x="2717" y="246837"/>
                  </a:lnTo>
                  <a:lnTo>
                    <a:pt x="6908" y="253606"/>
                  </a:lnTo>
                  <a:lnTo>
                    <a:pt x="147116" y="360527"/>
                  </a:lnTo>
                  <a:lnTo>
                    <a:pt x="154152" y="364858"/>
                  </a:lnTo>
                  <a:lnTo>
                    <a:pt x="160921" y="367017"/>
                  </a:lnTo>
                  <a:lnTo>
                    <a:pt x="167411" y="367017"/>
                  </a:lnTo>
                  <a:lnTo>
                    <a:pt x="219943" y="320785"/>
                  </a:lnTo>
                  <a:lnTo>
                    <a:pt x="243543" y="294141"/>
                  </a:lnTo>
                  <a:lnTo>
                    <a:pt x="279488" y="260642"/>
                  </a:lnTo>
                  <a:lnTo>
                    <a:pt x="318862" y="242989"/>
                  </a:lnTo>
                  <a:lnTo>
                    <a:pt x="367169" y="237109"/>
                  </a:lnTo>
                  <a:lnTo>
                    <a:pt x="735794" y="237109"/>
                  </a:lnTo>
                  <a:lnTo>
                    <a:pt x="732524" y="227118"/>
                  </a:lnTo>
                  <a:lnTo>
                    <a:pt x="700102" y="166629"/>
                  </a:lnTo>
                  <a:lnTo>
                    <a:pt x="657063" y="114863"/>
                  </a:lnTo>
                  <a:lnTo>
                    <a:pt x="604688" y="72507"/>
                  </a:lnTo>
                  <a:lnTo>
                    <a:pt x="545406" y="38808"/>
                  </a:lnTo>
                  <a:lnTo>
                    <a:pt x="480496" y="14149"/>
                  </a:lnTo>
                  <a:lnTo>
                    <a:pt x="415125" y="1571"/>
                  </a:lnTo>
                  <a:lnTo>
                    <a:pt x="38258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  <p:sp>
        <p:nvSpPr>
          <p:cNvPr id="11" name="object 3"/>
          <p:cNvSpPr/>
          <p:nvPr/>
        </p:nvSpPr>
        <p:spPr>
          <a:xfrm>
            <a:off x="6675465" y="890045"/>
            <a:ext cx="778005" cy="778005"/>
          </a:xfrm>
          <a:custGeom>
            <a:avLst/>
            <a:gdLst/>
            <a:ahLst/>
            <a:cxnLst/>
            <a:rect l="l" t="t" r="r" b="b"/>
            <a:pathLst>
              <a:path w="1765300" h="1765300">
                <a:moveTo>
                  <a:pt x="882653" y="0"/>
                </a:moveTo>
                <a:lnTo>
                  <a:pt x="837496" y="1149"/>
                </a:lnTo>
                <a:lnTo>
                  <a:pt x="792434" y="4596"/>
                </a:lnTo>
                <a:lnTo>
                  <a:pt x="747563" y="10342"/>
                </a:lnTo>
                <a:lnTo>
                  <a:pt x="702977" y="18386"/>
                </a:lnTo>
                <a:lnTo>
                  <a:pt x="658771" y="28728"/>
                </a:lnTo>
                <a:lnTo>
                  <a:pt x="615040" y="41368"/>
                </a:lnTo>
                <a:lnTo>
                  <a:pt x="571881" y="56307"/>
                </a:lnTo>
                <a:lnTo>
                  <a:pt x="529387" y="73544"/>
                </a:lnTo>
                <a:lnTo>
                  <a:pt x="487653" y="93080"/>
                </a:lnTo>
                <a:lnTo>
                  <a:pt x="446776" y="114913"/>
                </a:lnTo>
                <a:lnTo>
                  <a:pt x="406850" y="139045"/>
                </a:lnTo>
                <a:lnTo>
                  <a:pt x="367969" y="165475"/>
                </a:lnTo>
                <a:lnTo>
                  <a:pt x="330230" y="194204"/>
                </a:lnTo>
                <a:lnTo>
                  <a:pt x="293727" y="225231"/>
                </a:lnTo>
                <a:lnTo>
                  <a:pt x="258556" y="258556"/>
                </a:lnTo>
                <a:lnTo>
                  <a:pt x="225231" y="293727"/>
                </a:lnTo>
                <a:lnTo>
                  <a:pt x="194204" y="330230"/>
                </a:lnTo>
                <a:lnTo>
                  <a:pt x="165475" y="367969"/>
                </a:lnTo>
                <a:lnTo>
                  <a:pt x="139045" y="406850"/>
                </a:lnTo>
                <a:lnTo>
                  <a:pt x="114913" y="446776"/>
                </a:lnTo>
                <a:lnTo>
                  <a:pt x="93080" y="487653"/>
                </a:lnTo>
                <a:lnTo>
                  <a:pt x="73544" y="529387"/>
                </a:lnTo>
                <a:lnTo>
                  <a:pt x="56307" y="571881"/>
                </a:lnTo>
                <a:lnTo>
                  <a:pt x="41368" y="615040"/>
                </a:lnTo>
                <a:lnTo>
                  <a:pt x="28728" y="658771"/>
                </a:lnTo>
                <a:lnTo>
                  <a:pt x="18386" y="702977"/>
                </a:lnTo>
                <a:lnTo>
                  <a:pt x="10318" y="747747"/>
                </a:lnTo>
                <a:lnTo>
                  <a:pt x="4596" y="792434"/>
                </a:lnTo>
                <a:lnTo>
                  <a:pt x="1149" y="837496"/>
                </a:lnTo>
                <a:lnTo>
                  <a:pt x="0" y="882653"/>
                </a:lnTo>
                <a:lnTo>
                  <a:pt x="1149" y="927809"/>
                </a:lnTo>
                <a:lnTo>
                  <a:pt x="4596" y="972871"/>
                </a:lnTo>
                <a:lnTo>
                  <a:pt x="10342" y="1017743"/>
                </a:lnTo>
                <a:lnTo>
                  <a:pt x="18386" y="1062329"/>
                </a:lnTo>
                <a:lnTo>
                  <a:pt x="28728" y="1106535"/>
                </a:lnTo>
                <a:lnTo>
                  <a:pt x="41368" y="1150265"/>
                </a:lnTo>
                <a:lnTo>
                  <a:pt x="56307" y="1193425"/>
                </a:lnTo>
                <a:lnTo>
                  <a:pt x="73544" y="1235919"/>
                </a:lnTo>
                <a:lnTo>
                  <a:pt x="93080" y="1277652"/>
                </a:lnTo>
                <a:lnTo>
                  <a:pt x="114913" y="1318529"/>
                </a:lnTo>
                <a:lnTo>
                  <a:pt x="139045" y="1358456"/>
                </a:lnTo>
                <a:lnTo>
                  <a:pt x="165475" y="1397336"/>
                </a:lnTo>
                <a:lnTo>
                  <a:pt x="194204" y="1435075"/>
                </a:lnTo>
                <a:lnTo>
                  <a:pt x="225231" y="1471578"/>
                </a:lnTo>
                <a:lnTo>
                  <a:pt x="258556" y="1506750"/>
                </a:lnTo>
                <a:lnTo>
                  <a:pt x="293728" y="1540074"/>
                </a:lnTo>
                <a:lnTo>
                  <a:pt x="330234" y="1571099"/>
                </a:lnTo>
                <a:lnTo>
                  <a:pt x="367979" y="1599827"/>
                </a:lnTo>
                <a:lnTo>
                  <a:pt x="406866" y="1626256"/>
                </a:lnTo>
                <a:lnTo>
                  <a:pt x="446801" y="1650387"/>
                </a:lnTo>
                <a:lnTo>
                  <a:pt x="487688" y="1672220"/>
                </a:lnTo>
                <a:lnTo>
                  <a:pt x="529431" y="1691754"/>
                </a:lnTo>
                <a:lnTo>
                  <a:pt x="571936" y="1708991"/>
                </a:lnTo>
                <a:lnTo>
                  <a:pt x="615108" y="1723929"/>
                </a:lnTo>
                <a:lnTo>
                  <a:pt x="658850" y="1736569"/>
                </a:lnTo>
                <a:lnTo>
                  <a:pt x="703067" y="1746911"/>
                </a:lnTo>
                <a:lnTo>
                  <a:pt x="747665" y="1754954"/>
                </a:lnTo>
                <a:lnTo>
                  <a:pt x="792548" y="1760700"/>
                </a:lnTo>
                <a:lnTo>
                  <a:pt x="837620" y="1764147"/>
                </a:lnTo>
                <a:lnTo>
                  <a:pt x="882786" y="1765296"/>
                </a:lnTo>
                <a:lnTo>
                  <a:pt x="927951" y="1764147"/>
                </a:lnTo>
                <a:lnTo>
                  <a:pt x="973020" y="1760700"/>
                </a:lnTo>
                <a:lnTo>
                  <a:pt x="1017896" y="1754954"/>
                </a:lnTo>
                <a:lnTo>
                  <a:pt x="1062486" y="1746911"/>
                </a:lnTo>
                <a:lnTo>
                  <a:pt x="1106693" y="1736569"/>
                </a:lnTo>
                <a:lnTo>
                  <a:pt x="1150422" y="1723929"/>
                </a:lnTo>
                <a:lnTo>
                  <a:pt x="1193578" y="1708991"/>
                </a:lnTo>
                <a:lnTo>
                  <a:pt x="1236065" y="1691754"/>
                </a:lnTo>
                <a:lnTo>
                  <a:pt x="1277789" y="1672220"/>
                </a:lnTo>
                <a:lnTo>
                  <a:pt x="1318653" y="1650387"/>
                </a:lnTo>
                <a:lnTo>
                  <a:pt x="1358563" y="1626256"/>
                </a:lnTo>
                <a:lnTo>
                  <a:pt x="1397423" y="1599827"/>
                </a:lnTo>
                <a:lnTo>
                  <a:pt x="1435137" y="1571099"/>
                </a:lnTo>
                <a:lnTo>
                  <a:pt x="1471611" y="1540074"/>
                </a:lnTo>
                <a:lnTo>
                  <a:pt x="1506750" y="1506750"/>
                </a:lnTo>
                <a:lnTo>
                  <a:pt x="1540075" y="1471578"/>
                </a:lnTo>
                <a:lnTo>
                  <a:pt x="1571101" y="1435075"/>
                </a:lnTo>
                <a:lnTo>
                  <a:pt x="1599830" y="1397336"/>
                </a:lnTo>
                <a:lnTo>
                  <a:pt x="1626260" y="1358456"/>
                </a:lnTo>
                <a:lnTo>
                  <a:pt x="1650392" y="1318529"/>
                </a:lnTo>
                <a:lnTo>
                  <a:pt x="1672226" y="1277652"/>
                </a:lnTo>
                <a:lnTo>
                  <a:pt x="1683359" y="1253867"/>
                </a:lnTo>
                <a:lnTo>
                  <a:pt x="764676" y="1253867"/>
                </a:lnTo>
                <a:lnTo>
                  <a:pt x="412378" y="901557"/>
                </a:lnTo>
                <a:lnTo>
                  <a:pt x="566188" y="747747"/>
                </a:lnTo>
                <a:lnTo>
                  <a:pt x="963327" y="747747"/>
                </a:lnTo>
                <a:lnTo>
                  <a:pt x="1199473" y="511794"/>
                </a:lnTo>
                <a:lnTo>
                  <a:pt x="1683526" y="511794"/>
                </a:lnTo>
                <a:lnTo>
                  <a:pt x="1672226" y="487653"/>
                </a:lnTo>
                <a:lnTo>
                  <a:pt x="1650392" y="446776"/>
                </a:lnTo>
                <a:lnTo>
                  <a:pt x="1626260" y="406850"/>
                </a:lnTo>
                <a:lnTo>
                  <a:pt x="1599830" y="367969"/>
                </a:lnTo>
                <a:lnTo>
                  <a:pt x="1571101" y="330230"/>
                </a:lnTo>
                <a:lnTo>
                  <a:pt x="1540075" y="293727"/>
                </a:lnTo>
                <a:lnTo>
                  <a:pt x="1506750" y="258556"/>
                </a:lnTo>
                <a:lnTo>
                  <a:pt x="1471578" y="225231"/>
                </a:lnTo>
                <a:lnTo>
                  <a:pt x="1435075" y="194204"/>
                </a:lnTo>
                <a:lnTo>
                  <a:pt x="1397336" y="165475"/>
                </a:lnTo>
                <a:lnTo>
                  <a:pt x="1358456" y="139045"/>
                </a:lnTo>
                <a:lnTo>
                  <a:pt x="1318529" y="114913"/>
                </a:lnTo>
                <a:lnTo>
                  <a:pt x="1277652" y="93080"/>
                </a:lnTo>
                <a:lnTo>
                  <a:pt x="1235919" y="73544"/>
                </a:lnTo>
                <a:lnTo>
                  <a:pt x="1193425" y="56307"/>
                </a:lnTo>
                <a:lnTo>
                  <a:pt x="1150265" y="41368"/>
                </a:lnTo>
                <a:lnTo>
                  <a:pt x="1106535" y="28728"/>
                </a:lnTo>
                <a:lnTo>
                  <a:pt x="1062329" y="18386"/>
                </a:lnTo>
                <a:lnTo>
                  <a:pt x="1017743" y="10342"/>
                </a:lnTo>
                <a:lnTo>
                  <a:pt x="972871" y="4596"/>
                </a:lnTo>
                <a:lnTo>
                  <a:pt x="927809" y="1149"/>
                </a:lnTo>
                <a:lnTo>
                  <a:pt x="882653" y="0"/>
                </a:lnTo>
                <a:close/>
              </a:path>
              <a:path w="1765300" h="1765300">
                <a:moveTo>
                  <a:pt x="1683526" y="511794"/>
                </a:moveTo>
                <a:lnTo>
                  <a:pt x="1199473" y="511794"/>
                </a:lnTo>
                <a:lnTo>
                  <a:pt x="1353296" y="665616"/>
                </a:lnTo>
                <a:lnTo>
                  <a:pt x="764676" y="1253867"/>
                </a:lnTo>
                <a:lnTo>
                  <a:pt x="1683359" y="1253867"/>
                </a:lnTo>
                <a:lnTo>
                  <a:pt x="1691761" y="1235919"/>
                </a:lnTo>
                <a:lnTo>
                  <a:pt x="1708998" y="1193425"/>
                </a:lnTo>
                <a:lnTo>
                  <a:pt x="1723937" y="1150265"/>
                </a:lnTo>
                <a:lnTo>
                  <a:pt x="1736577" y="1106535"/>
                </a:lnTo>
                <a:lnTo>
                  <a:pt x="1746920" y="1062329"/>
                </a:lnTo>
                <a:lnTo>
                  <a:pt x="1754964" y="1017743"/>
                </a:lnTo>
                <a:lnTo>
                  <a:pt x="1760709" y="972871"/>
                </a:lnTo>
                <a:lnTo>
                  <a:pt x="1764157" y="927809"/>
                </a:lnTo>
                <a:lnTo>
                  <a:pt x="1765306" y="882653"/>
                </a:lnTo>
                <a:lnTo>
                  <a:pt x="1764157" y="837496"/>
                </a:lnTo>
                <a:lnTo>
                  <a:pt x="1760709" y="792434"/>
                </a:lnTo>
                <a:lnTo>
                  <a:pt x="1754964" y="747563"/>
                </a:lnTo>
                <a:lnTo>
                  <a:pt x="1746920" y="702977"/>
                </a:lnTo>
                <a:lnTo>
                  <a:pt x="1736577" y="658771"/>
                </a:lnTo>
                <a:lnTo>
                  <a:pt x="1723937" y="615040"/>
                </a:lnTo>
                <a:lnTo>
                  <a:pt x="1708998" y="571881"/>
                </a:lnTo>
                <a:lnTo>
                  <a:pt x="1691761" y="529387"/>
                </a:lnTo>
                <a:lnTo>
                  <a:pt x="1683526" y="511794"/>
                </a:lnTo>
                <a:close/>
              </a:path>
              <a:path w="1765300" h="1765300">
                <a:moveTo>
                  <a:pt x="963327" y="747747"/>
                </a:moveTo>
                <a:lnTo>
                  <a:pt x="566188" y="747747"/>
                </a:lnTo>
                <a:lnTo>
                  <a:pt x="764676" y="946235"/>
                </a:lnTo>
                <a:lnTo>
                  <a:pt x="963327" y="747747"/>
                </a:lnTo>
                <a:close/>
              </a:path>
            </a:pathLst>
          </a:custGeom>
          <a:solidFill>
            <a:srgbClr val="02A2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4"/>
          <p:cNvSpPr/>
          <p:nvPr/>
        </p:nvSpPr>
        <p:spPr>
          <a:xfrm>
            <a:off x="5474577" y="876063"/>
            <a:ext cx="783882" cy="783882"/>
          </a:xfrm>
          <a:custGeom>
            <a:avLst/>
            <a:gdLst/>
            <a:ahLst/>
            <a:cxnLst/>
            <a:rect l="l" t="t" r="r" b="b"/>
            <a:pathLst>
              <a:path w="1778635" h="1778635">
                <a:moveTo>
                  <a:pt x="889000" y="0"/>
                </a:moveTo>
                <a:lnTo>
                  <a:pt x="840222" y="1315"/>
                </a:lnTo>
                <a:lnTo>
                  <a:pt x="792133" y="5218"/>
                </a:lnTo>
                <a:lnTo>
                  <a:pt x="744799" y="11639"/>
                </a:lnTo>
                <a:lnTo>
                  <a:pt x="698288" y="20510"/>
                </a:lnTo>
                <a:lnTo>
                  <a:pt x="652668" y="31765"/>
                </a:lnTo>
                <a:lnTo>
                  <a:pt x="608006" y="45335"/>
                </a:lnTo>
                <a:lnTo>
                  <a:pt x="564372" y="61152"/>
                </a:lnTo>
                <a:lnTo>
                  <a:pt x="521831" y="79149"/>
                </a:lnTo>
                <a:lnTo>
                  <a:pt x="480452" y="99257"/>
                </a:lnTo>
                <a:lnTo>
                  <a:pt x="440304" y="121409"/>
                </a:lnTo>
                <a:lnTo>
                  <a:pt x="401453" y="145537"/>
                </a:lnTo>
                <a:lnTo>
                  <a:pt x="363967" y="171573"/>
                </a:lnTo>
                <a:lnTo>
                  <a:pt x="327915" y="199450"/>
                </a:lnTo>
                <a:lnTo>
                  <a:pt x="293364" y="229099"/>
                </a:lnTo>
                <a:lnTo>
                  <a:pt x="260381" y="260453"/>
                </a:lnTo>
                <a:lnTo>
                  <a:pt x="229035" y="293443"/>
                </a:lnTo>
                <a:lnTo>
                  <a:pt x="199394" y="328003"/>
                </a:lnTo>
                <a:lnTo>
                  <a:pt x="171525" y="364063"/>
                </a:lnTo>
                <a:lnTo>
                  <a:pt x="145495" y="401557"/>
                </a:lnTo>
                <a:lnTo>
                  <a:pt x="121374" y="440417"/>
                </a:lnTo>
                <a:lnTo>
                  <a:pt x="99228" y="480574"/>
                </a:lnTo>
                <a:lnTo>
                  <a:pt x="79125" y="521961"/>
                </a:lnTo>
                <a:lnTo>
                  <a:pt x="61134" y="564510"/>
                </a:lnTo>
                <a:lnTo>
                  <a:pt x="45321" y="608153"/>
                </a:lnTo>
                <a:lnTo>
                  <a:pt x="31755" y="652822"/>
                </a:lnTo>
                <a:lnTo>
                  <a:pt x="20504" y="698450"/>
                </a:lnTo>
                <a:lnTo>
                  <a:pt x="11635" y="744969"/>
                </a:lnTo>
                <a:lnTo>
                  <a:pt x="5216" y="792310"/>
                </a:lnTo>
                <a:lnTo>
                  <a:pt x="1315" y="840406"/>
                </a:lnTo>
                <a:lnTo>
                  <a:pt x="0" y="889190"/>
                </a:lnTo>
                <a:lnTo>
                  <a:pt x="1315" y="937967"/>
                </a:lnTo>
                <a:lnTo>
                  <a:pt x="5216" y="986058"/>
                </a:lnTo>
                <a:lnTo>
                  <a:pt x="11635" y="1033394"/>
                </a:lnTo>
                <a:lnTo>
                  <a:pt x="20504" y="1079908"/>
                </a:lnTo>
                <a:lnTo>
                  <a:pt x="31755" y="1125531"/>
                </a:lnTo>
                <a:lnTo>
                  <a:pt x="45321" y="1170196"/>
                </a:lnTo>
                <a:lnTo>
                  <a:pt x="61134" y="1213835"/>
                </a:lnTo>
                <a:lnTo>
                  <a:pt x="79125" y="1256381"/>
                </a:lnTo>
                <a:lnTo>
                  <a:pt x="99228" y="1297764"/>
                </a:lnTo>
                <a:lnTo>
                  <a:pt x="121374" y="1337919"/>
                </a:lnTo>
                <a:lnTo>
                  <a:pt x="145495" y="1376775"/>
                </a:lnTo>
                <a:lnTo>
                  <a:pt x="171525" y="1414267"/>
                </a:lnTo>
                <a:lnTo>
                  <a:pt x="199394" y="1450325"/>
                </a:lnTo>
                <a:lnTo>
                  <a:pt x="229035" y="1484883"/>
                </a:lnTo>
                <a:lnTo>
                  <a:pt x="260381" y="1517872"/>
                </a:lnTo>
                <a:lnTo>
                  <a:pt x="293364" y="1549224"/>
                </a:lnTo>
                <a:lnTo>
                  <a:pt x="327915" y="1578872"/>
                </a:lnTo>
                <a:lnTo>
                  <a:pt x="363967" y="1606747"/>
                </a:lnTo>
                <a:lnTo>
                  <a:pt x="401453" y="1632782"/>
                </a:lnTo>
                <a:lnTo>
                  <a:pt x="440304" y="1656910"/>
                </a:lnTo>
                <a:lnTo>
                  <a:pt x="480452" y="1679061"/>
                </a:lnTo>
                <a:lnTo>
                  <a:pt x="521831" y="1699169"/>
                </a:lnTo>
                <a:lnTo>
                  <a:pt x="564372" y="1717165"/>
                </a:lnTo>
                <a:lnTo>
                  <a:pt x="608006" y="1732982"/>
                </a:lnTo>
                <a:lnTo>
                  <a:pt x="652668" y="1746552"/>
                </a:lnTo>
                <a:lnTo>
                  <a:pt x="698288" y="1757806"/>
                </a:lnTo>
                <a:lnTo>
                  <a:pt x="744799" y="1766678"/>
                </a:lnTo>
                <a:lnTo>
                  <a:pt x="792133" y="1773099"/>
                </a:lnTo>
                <a:lnTo>
                  <a:pt x="840222" y="1777001"/>
                </a:lnTo>
                <a:lnTo>
                  <a:pt x="889000" y="1778317"/>
                </a:lnTo>
                <a:lnTo>
                  <a:pt x="937801" y="1777001"/>
                </a:lnTo>
                <a:lnTo>
                  <a:pt x="985914" y="1773098"/>
                </a:lnTo>
                <a:lnTo>
                  <a:pt x="1033271" y="1766676"/>
                </a:lnTo>
                <a:lnTo>
                  <a:pt x="1079803" y="1757803"/>
                </a:lnTo>
                <a:lnTo>
                  <a:pt x="1125443" y="1746547"/>
                </a:lnTo>
                <a:lnTo>
                  <a:pt x="1170123" y="1732976"/>
                </a:lnTo>
                <a:lnTo>
                  <a:pt x="1213776" y="1717157"/>
                </a:lnTo>
                <a:lnTo>
                  <a:pt x="1256333" y="1699159"/>
                </a:lnTo>
                <a:lnTo>
                  <a:pt x="1297727" y="1679049"/>
                </a:lnTo>
                <a:lnTo>
                  <a:pt x="1337890" y="1656896"/>
                </a:lnTo>
                <a:lnTo>
                  <a:pt x="1376755" y="1632766"/>
                </a:lnTo>
                <a:lnTo>
                  <a:pt x="1414253" y="1606729"/>
                </a:lnTo>
                <a:lnTo>
                  <a:pt x="1450317" y="1578851"/>
                </a:lnTo>
                <a:lnTo>
                  <a:pt x="1484879" y="1549202"/>
                </a:lnTo>
                <a:lnTo>
                  <a:pt x="1517872" y="1517848"/>
                </a:lnTo>
                <a:lnTo>
                  <a:pt x="1549227" y="1484858"/>
                </a:lnTo>
                <a:lnTo>
                  <a:pt x="1578876" y="1450299"/>
                </a:lnTo>
                <a:lnTo>
                  <a:pt x="1606753" y="1414239"/>
                </a:lnTo>
                <a:lnTo>
                  <a:pt x="1632789" y="1376747"/>
                </a:lnTo>
                <a:lnTo>
                  <a:pt x="1656917" y="1337890"/>
                </a:lnTo>
                <a:lnTo>
                  <a:pt x="1679068" y="1297736"/>
                </a:lnTo>
                <a:lnTo>
                  <a:pt x="1691878" y="1271371"/>
                </a:lnTo>
                <a:lnTo>
                  <a:pt x="648373" y="1271371"/>
                </a:lnTo>
                <a:lnTo>
                  <a:pt x="506691" y="1129944"/>
                </a:lnTo>
                <a:lnTo>
                  <a:pt x="645804" y="1001993"/>
                </a:lnTo>
                <a:lnTo>
                  <a:pt x="717240" y="934297"/>
                </a:lnTo>
                <a:lnTo>
                  <a:pt x="743559" y="904316"/>
                </a:lnTo>
                <a:lnTo>
                  <a:pt x="747318" y="889508"/>
                </a:lnTo>
                <a:lnTo>
                  <a:pt x="709720" y="843457"/>
                </a:lnTo>
                <a:lnTo>
                  <a:pt x="627005" y="761612"/>
                </a:lnTo>
                <a:lnTo>
                  <a:pt x="544289" y="683510"/>
                </a:lnTo>
                <a:lnTo>
                  <a:pt x="506691" y="648690"/>
                </a:lnTo>
                <a:lnTo>
                  <a:pt x="648373" y="506945"/>
                </a:lnTo>
                <a:lnTo>
                  <a:pt x="1691880" y="506945"/>
                </a:lnTo>
                <a:lnTo>
                  <a:pt x="1679068" y="480574"/>
                </a:lnTo>
                <a:lnTo>
                  <a:pt x="1656917" y="440417"/>
                </a:lnTo>
                <a:lnTo>
                  <a:pt x="1632789" y="401557"/>
                </a:lnTo>
                <a:lnTo>
                  <a:pt x="1606753" y="364063"/>
                </a:lnTo>
                <a:lnTo>
                  <a:pt x="1578876" y="328003"/>
                </a:lnTo>
                <a:lnTo>
                  <a:pt x="1549227" y="293443"/>
                </a:lnTo>
                <a:lnTo>
                  <a:pt x="1517872" y="260453"/>
                </a:lnTo>
                <a:lnTo>
                  <a:pt x="1484879" y="229099"/>
                </a:lnTo>
                <a:lnTo>
                  <a:pt x="1450317" y="199450"/>
                </a:lnTo>
                <a:lnTo>
                  <a:pt x="1414253" y="171573"/>
                </a:lnTo>
                <a:lnTo>
                  <a:pt x="1376755" y="145537"/>
                </a:lnTo>
                <a:lnTo>
                  <a:pt x="1337890" y="121409"/>
                </a:lnTo>
                <a:lnTo>
                  <a:pt x="1297727" y="99257"/>
                </a:lnTo>
                <a:lnTo>
                  <a:pt x="1256333" y="79149"/>
                </a:lnTo>
                <a:lnTo>
                  <a:pt x="1213776" y="61152"/>
                </a:lnTo>
                <a:lnTo>
                  <a:pt x="1170123" y="45335"/>
                </a:lnTo>
                <a:lnTo>
                  <a:pt x="1125443" y="31765"/>
                </a:lnTo>
                <a:lnTo>
                  <a:pt x="1079803" y="20510"/>
                </a:lnTo>
                <a:lnTo>
                  <a:pt x="1033271" y="11639"/>
                </a:lnTo>
                <a:lnTo>
                  <a:pt x="985914" y="5218"/>
                </a:lnTo>
                <a:lnTo>
                  <a:pt x="937801" y="1315"/>
                </a:lnTo>
                <a:lnTo>
                  <a:pt x="889000" y="0"/>
                </a:lnTo>
                <a:close/>
              </a:path>
              <a:path w="1778635" h="1778635">
                <a:moveTo>
                  <a:pt x="888936" y="1030998"/>
                </a:moveTo>
                <a:lnTo>
                  <a:pt x="844404" y="1068556"/>
                </a:lnTo>
                <a:lnTo>
                  <a:pt x="762482" y="1151185"/>
                </a:lnTo>
                <a:lnTo>
                  <a:pt x="683646" y="1233813"/>
                </a:lnTo>
                <a:lnTo>
                  <a:pt x="648373" y="1271371"/>
                </a:lnTo>
                <a:lnTo>
                  <a:pt x="1129703" y="1271371"/>
                </a:lnTo>
                <a:lnTo>
                  <a:pt x="999918" y="1132406"/>
                </a:lnTo>
                <a:lnTo>
                  <a:pt x="931576" y="1061045"/>
                </a:lnTo>
                <a:lnTo>
                  <a:pt x="902106" y="1034754"/>
                </a:lnTo>
                <a:lnTo>
                  <a:pt x="888936" y="1030998"/>
                </a:lnTo>
                <a:close/>
              </a:path>
              <a:path w="1778635" h="1778635">
                <a:moveTo>
                  <a:pt x="1691880" y="506945"/>
                </a:moveTo>
                <a:lnTo>
                  <a:pt x="1129703" y="506945"/>
                </a:lnTo>
                <a:lnTo>
                  <a:pt x="1271308" y="648690"/>
                </a:lnTo>
                <a:lnTo>
                  <a:pt x="1132158" y="778469"/>
                </a:lnTo>
                <a:lnTo>
                  <a:pt x="1060704" y="846813"/>
                </a:lnTo>
                <a:lnTo>
                  <a:pt x="1034378" y="876301"/>
                </a:lnTo>
                <a:lnTo>
                  <a:pt x="1030617" y="889508"/>
                </a:lnTo>
                <a:lnTo>
                  <a:pt x="1068225" y="933810"/>
                </a:lnTo>
                <a:lnTo>
                  <a:pt x="1150962" y="1015712"/>
                </a:lnTo>
                <a:lnTo>
                  <a:pt x="1233700" y="1094621"/>
                </a:lnTo>
                <a:lnTo>
                  <a:pt x="1271308" y="1129944"/>
                </a:lnTo>
                <a:lnTo>
                  <a:pt x="1129703" y="1271371"/>
                </a:lnTo>
                <a:lnTo>
                  <a:pt x="1691878" y="1271371"/>
                </a:lnTo>
                <a:lnTo>
                  <a:pt x="1699175" y="1256354"/>
                </a:lnTo>
                <a:lnTo>
                  <a:pt x="1717171" y="1213809"/>
                </a:lnTo>
                <a:lnTo>
                  <a:pt x="1732987" y="1170172"/>
                </a:lnTo>
                <a:lnTo>
                  <a:pt x="1746555" y="1125509"/>
                </a:lnTo>
                <a:lnTo>
                  <a:pt x="1757809" y="1079889"/>
                </a:lnTo>
                <a:lnTo>
                  <a:pt x="1766679" y="1033379"/>
                </a:lnTo>
                <a:lnTo>
                  <a:pt x="1773100" y="986047"/>
                </a:lnTo>
                <a:lnTo>
                  <a:pt x="1777001" y="937967"/>
                </a:lnTo>
                <a:lnTo>
                  <a:pt x="1778317" y="889190"/>
                </a:lnTo>
                <a:lnTo>
                  <a:pt x="1777001" y="840406"/>
                </a:lnTo>
                <a:lnTo>
                  <a:pt x="1773100" y="792310"/>
                </a:lnTo>
                <a:lnTo>
                  <a:pt x="1766679" y="744969"/>
                </a:lnTo>
                <a:lnTo>
                  <a:pt x="1757809" y="698450"/>
                </a:lnTo>
                <a:lnTo>
                  <a:pt x="1746555" y="652822"/>
                </a:lnTo>
                <a:lnTo>
                  <a:pt x="1732987" y="608153"/>
                </a:lnTo>
                <a:lnTo>
                  <a:pt x="1717171" y="564510"/>
                </a:lnTo>
                <a:lnTo>
                  <a:pt x="1699175" y="521961"/>
                </a:lnTo>
                <a:lnTo>
                  <a:pt x="1691880" y="506945"/>
                </a:lnTo>
                <a:close/>
              </a:path>
              <a:path w="1778635" h="1778635">
                <a:moveTo>
                  <a:pt x="1129703" y="506945"/>
                </a:moveTo>
                <a:lnTo>
                  <a:pt x="648373" y="506945"/>
                </a:lnTo>
                <a:lnTo>
                  <a:pt x="779219" y="645984"/>
                </a:lnTo>
                <a:lnTo>
                  <a:pt x="847893" y="717383"/>
                </a:lnTo>
                <a:lnTo>
                  <a:pt x="876948" y="743687"/>
                </a:lnTo>
                <a:lnTo>
                  <a:pt x="888936" y="747445"/>
                </a:lnTo>
                <a:lnTo>
                  <a:pt x="932782" y="709867"/>
                </a:lnTo>
                <a:lnTo>
                  <a:pt x="1014853" y="627195"/>
                </a:lnTo>
                <a:lnTo>
                  <a:pt x="1094158" y="544524"/>
                </a:lnTo>
                <a:lnTo>
                  <a:pt x="1129703" y="506945"/>
                </a:lnTo>
                <a:close/>
              </a:path>
            </a:pathLst>
          </a:custGeom>
          <a:solidFill>
            <a:srgbClr val="C24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Прямоугольник 2"/>
          <p:cNvSpPr/>
          <p:nvPr/>
        </p:nvSpPr>
        <p:spPr>
          <a:xfrm rot="1563782">
            <a:off x="878580" y="1952056"/>
            <a:ext cx="1905000" cy="3571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 rot="20764005">
            <a:off x="5343321" y="2960971"/>
            <a:ext cx="640405" cy="32099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546524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" name="Объект 5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512006" y="514350"/>
            <a:ext cx="5800724" cy="566261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 rot="2778704">
            <a:off x="3945643" y="2334856"/>
            <a:ext cx="3019425" cy="6000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 rot="2778704">
            <a:off x="3955169" y="2402324"/>
            <a:ext cx="3019425" cy="6000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354254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534" y="2068333"/>
            <a:ext cx="4612466" cy="3474337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7147" y="431643"/>
            <a:ext cx="5269642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ВЕРШЕНИЕ ПРОЦЕДУРЫ</a:t>
            </a: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0199" y="1553016"/>
            <a:ext cx="4032318" cy="3042937"/>
          </a:xfrm>
        </p:spPr>
        <p:txBody>
          <a:bodyPr>
            <a:noAutofit/>
          </a:bodyPr>
          <a:lstStyle/>
          <a:p>
            <a:pPr lvl="0"/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рыть зонд заглушкой (если процедура, ради которой был введен зонд, будет выполнена позднее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казать на </a:t>
            </a:r>
            <a:r>
              <a:rPr lang="ru-RU" sz="20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короватной</a:t>
            </a: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табличке дату постановки зонда и в какую ноздрю (правую/левую) был поставлен</a:t>
            </a: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ять перчатки. Вымыть и осушить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уки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чь пациенту занять </a:t>
            </a:r>
            <a:r>
              <a:rPr lang="ru-RU" sz="2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добное </a:t>
            </a:r>
            <a:r>
              <a:rPr lang="ru-RU" sz="20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ожение</a:t>
            </a:r>
            <a:endParaRPr lang="ru-RU" sz="200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35443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4165772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ХОД ЗА ЗОНДОМ </a:t>
            </a:r>
            <a:endParaRPr lang="ru-RU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73277" y="1674759"/>
            <a:ext cx="3630312" cy="4351338"/>
          </a:xfrm>
        </p:spPr>
        <p:txBody>
          <a:bodyPr>
            <a:noAutofit/>
          </a:bodyPr>
          <a:lstStyle/>
          <a:p>
            <a:pPr lvl="0"/>
            <a:endParaRPr lang="ru-RU" dirty="0"/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мывать зонд каждые четыре часа изотоническим раствором натрия хлорида 15 мл (для дренирующего зонда вводить 15 мл воздуха через отведение для оттока каждые четыре часа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/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есть затруднения при введении жидкости в зонд – проверьте правильность положения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нда</a:t>
            </a: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000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6512" y="2194560"/>
            <a:ext cx="4817488" cy="3613116"/>
          </a:xfrm>
        </p:spPr>
      </p:pic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33186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3137" y="821988"/>
            <a:ext cx="7886700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ГДА  МЕНЯТЬ ЗОНД? 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67265" y="2639326"/>
            <a:ext cx="7595287" cy="3654382"/>
          </a:xfrm>
        </p:spPr>
        <p:txBody>
          <a:bodyPr>
            <a:normAutofit/>
          </a:bodyPr>
          <a:lstStyle/>
          <a:p>
            <a:r>
              <a:rPr lang="ru-RU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ово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ВХ зонды желательно  - через 2-2,5 недели</a:t>
            </a:r>
          </a:p>
          <a:p>
            <a:r>
              <a:rPr lang="ru-RU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ланово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олиуретановые  зонды - через 4-5 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дель</a:t>
            </a:r>
          </a:p>
          <a:p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лучае</a:t>
            </a:r>
            <a:r>
              <a:rPr lang="ru-RU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если имелись технические сложности в постановке зонда и он проходим и не загрязнен, сроки замены могут </a:t>
            </a:r>
            <a:r>
              <a:rPr lang="ru-RU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величиваться</a:t>
            </a:r>
            <a:endParaRPr lang="ru-RU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62068" y="318495"/>
            <a:ext cx="1223664" cy="1765677"/>
            <a:chOff x="3841777" y="2807778"/>
            <a:chExt cx="751840" cy="1039851"/>
          </a:xfrm>
          <a:solidFill>
            <a:srgbClr val="2E418D"/>
          </a:solidFill>
        </p:grpSpPr>
        <p:sp>
          <p:nvSpPr>
            <p:cNvPr id="6" name="object 6"/>
            <p:cNvSpPr/>
            <p:nvPr/>
          </p:nvSpPr>
          <p:spPr>
            <a:xfrm>
              <a:off x="4076580" y="3587279"/>
              <a:ext cx="260350" cy="260350"/>
            </a:xfrm>
            <a:custGeom>
              <a:avLst/>
              <a:gdLst/>
              <a:ahLst/>
              <a:cxnLst/>
              <a:rect l="l" t="t" r="r" b="b"/>
              <a:pathLst>
                <a:path w="260350" h="260350">
                  <a:moveTo>
                    <a:pt x="236016" y="0"/>
                  </a:moveTo>
                  <a:lnTo>
                    <a:pt x="23825" y="0"/>
                  </a:lnTo>
                  <a:lnTo>
                    <a:pt x="16243" y="3263"/>
                  </a:lnTo>
                  <a:lnTo>
                    <a:pt x="3251" y="16256"/>
                  </a:lnTo>
                  <a:lnTo>
                    <a:pt x="0" y="23825"/>
                  </a:lnTo>
                  <a:lnTo>
                    <a:pt x="0" y="236042"/>
                  </a:lnTo>
                  <a:lnTo>
                    <a:pt x="3251" y="243636"/>
                  </a:lnTo>
                  <a:lnTo>
                    <a:pt x="16272" y="256616"/>
                  </a:lnTo>
                  <a:lnTo>
                    <a:pt x="23812" y="259854"/>
                  </a:lnTo>
                  <a:lnTo>
                    <a:pt x="236016" y="259854"/>
                  </a:lnTo>
                  <a:lnTo>
                    <a:pt x="243624" y="256603"/>
                  </a:lnTo>
                  <a:lnTo>
                    <a:pt x="256603" y="243636"/>
                  </a:lnTo>
                  <a:lnTo>
                    <a:pt x="259854" y="236042"/>
                  </a:lnTo>
                  <a:lnTo>
                    <a:pt x="259854" y="23825"/>
                  </a:lnTo>
                  <a:lnTo>
                    <a:pt x="256603" y="16256"/>
                  </a:lnTo>
                  <a:lnTo>
                    <a:pt x="243611" y="3251"/>
                  </a:lnTo>
                  <a:lnTo>
                    <a:pt x="236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841777" y="2807778"/>
              <a:ext cx="751840" cy="727710"/>
            </a:xfrm>
            <a:custGeom>
              <a:avLst/>
              <a:gdLst/>
              <a:ahLst/>
              <a:cxnLst/>
              <a:rect l="l" t="t" r="r" b="b"/>
              <a:pathLst>
                <a:path w="751839" h="727710">
                  <a:moveTo>
                    <a:pt x="735794" y="237109"/>
                  </a:moveTo>
                  <a:lnTo>
                    <a:pt x="367169" y="237109"/>
                  </a:lnTo>
                  <a:lnTo>
                    <a:pt x="391204" y="238732"/>
                  </a:lnTo>
                  <a:lnTo>
                    <a:pt x="413762" y="243601"/>
                  </a:lnTo>
                  <a:lnTo>
                    <a:pt x="454469" y="263067"/>
                  </a:lnTo>
                  <a:lnTo>
                    <a:pt x="482776" y="291091"/>
                  </a:lnTo>
                  <a:lnTo>
                    <a:pt x="492213" y="323164"/>
                  </a:lnTo>
                  <a:lnTo>
                    <a:pt x="490944" y="341330"/>
                  </a:lnTo>
                  <a:lnTo>
                    <a:pt x="471919" y="384873"/>
                  </a:lnTo>
                  <a:lnTo>
                    <a:pt x="425933" y="419276"/>
                  </a:lnTo>
                  <a:lnTo>
                    <a:pt x="403694" y="430339"/>
                  </a:lnTo>
                  <a:lnTo>
                    <a:pt x="372694" y="446505"/>
                  </a:lnTo>
                  <a:lnTo>
                    <a:pt x="314633" y="490563"/>
                  </a:lnTo>
                  <a:lnTo>
                    <a:pt x="287591" y="518452"/>
                  </a:lnTo>
                  <a:lnTo>
                    <a:pt x="264497" y="548777"/>
                  </a:lnTo>
                  <a:lnTo>
                    <a:pt x="238108" y="612322"/>
                  </a:lnTo>
                  <a:lnTo>
                    <a:pt x="234810" y="645541"/>
                  </a:lnTo>
                  <a:lnTo>
                    <a:pt x="234810" y="682078"/>
                  </a:lnTo>
                  <a:lnTo>
                    <a:pt x="247825" y="719108"/>
                  </a:lnTo>
                  <a:lnTo>
                    <a:pt x="264045" y="727557"/>
                  </a:lnTo>
                  <a:lnTo>
                    <a:pt x="458927" y="727557"/>
                  </a:lnTo>
                  <a:lnTo>
                    <a:pt x="488961" y="702075"/>
                  </a:lnTo>
                  <a:lnTo>
                    <a:pt x="491401" y="688594"/>
                  </a:lnTo>
                  <a:lnTo>
                    <a:pt x="492796" y="677576"/>
                  </a:lnTo>
                  <a:lnTo>
                    <a:pt x="513727" y="634187"/>
                  </a:lnTo>
                  <a:lnTo>
                    <a:pt x="538799" y="603931"/>
                  </a:lnTo>
                  <a:lnTo>
                    <a:pt x="597563" y="565248"/>
                  </a:lnTo>
                  <a:lnTo>
                    <a:pt x="609082" y="558477"/>
                  </a:lnTo>
                  <a:lnTo>
                    <a:pt x="651862" y="528573"/>
                  </a:lnTo>
                  <a:lnTo>
                    <a:pt x="691173" y="492972"/>
                  </a:lnTo>
                  <a:lnTo>
                    <a:pt x="717960" y="456058"/>
                  </a:lnTo>
                  <a:lnTo>
                    <a:pt x="738670" y="406793"/>
                  </a:lnTo>
                  <a:lnTo>
                    <a:pt x="748115" y="367204"/>
                  </a:lnTo>
                  <a:lnTo>
                    <a:pt x="751255" y="324777"/>
                  </a:lnTo>
                  <a:lnTo>
                    <a:pt x="749173" y="291459"/>
                  </a:lnTo>
                  <a:lnTo>
                    <a:pt x="742927" y="258905"/>
                  </a:lnTo>
                  <a:lnTo>
                    <a:pt x="735794" y="237109"/>
                  </a:lnTo>
                  <a:close/>
                </a:path>
                <a:path w="751839" h="727710">
                  <a:moveTo>
                    <a:pt x="382587" y="0"/>
                  </a:moveTo>
                  <a:lnTo>
                    <a:pt x="329179" y="2666"/>
                  </a:lnTo>
                  <a:lnTo>
                    <a:pt x="278657" y="10666"/>
                  </a:lnTo>
                  <a:lnTo>
                    <a:pt x="231021" y="23998"/>
                  </a:lnTo>
                  <a:lnTo>
                    <a:pt x="186271" y="42664"/>
                  </a:lnTo>
                  <a:lnTo>
                    <a:pt x="144408" y="66663"/>
                  </a:lnTo>
                  <a:lnTo>
                    <a:pt x="105431" y="95995"/>
                  </a:lnTo>
                  <a:lnTo>
                    <a:pt x="69340" y="130659"/>
                  </a:lnTo>
                  <a:lnTo>
                    <a:pt x="36135" y="170657"/>
                  </a:lnTo>
                  <a:lnTo>
                    <a:pt x="5816" y="215988"/>
                  </a:lnTo>
                  <a:lnTo>
                    <a:pt x="0" y="230606"/>
                  </a:lnTo>
                  <a:lnTo>
                    <a:pt x="2717" y="246837"/>
                  </a:lnTo>
                  <a:lnTo>
                    <a:pt x="6908" y="253606"/>
                  </a:lnTo>
                  <a:lnTo>
                    <a:pt x="147116" y="360527"/>
                  </a:lnTo>
                  <a:lnTo>
                    <a:pt x="154152" y="364858"/>
                  </a:lnTo>
                  <a:lnTo>
                    <a:pt x="160921" y="367017"/>
                  </a:lnTo>
                  <a:lnTo>
                    <a:pt x="167411" y="367017"/>
                  </a:lnTo>
                  <a:lnTo>
                    <a:pt x="219943" y="320785"/>
                  </a:lnTo>
                  <a:lnTo>
                    <a:pt x="243543" y="294141"/>
                  </a:lnTo>
                  <a:lnTo>
                    <a:pt x="279488" y="260642"/>
                  </a:lnTo>
                  <a:lnTo>
                    <a:pt x="318862" y="242989"/>
                  </a:lnTo>
                  <a:lnTo>
                    <a:pt x="367169" y="237109"/>
                  </a:lnTo>
                  <a:lnTo>
                    <a:pt x="735794" y="237109"/>
                  </a:lnTo>
                  <a:lnTo>
                    <a:pt x="732524" y="227118"/>
                  </a:lnTo>
                  <a:lnTo>
                    <a:pt x="700102" y="166629"/>
                  </a:lnTo>
                  <a:lnTo>
                    <a:pt x="657063" y="114863"/>
                  </a:lnTo>
                  <a:lnTo>
                    <a:pt x="604688" y="72507"/>
                  </a:lnTo>
                  <a:lnTo>
                    <a:pt x="545406" y="38808"/>
                  </a:lnTo>
                  <a:lnTo>
                    <a:pt x="480496" y="14149"/>
                  </a:lnTo>
                  <a:lnTo>
                    <a:pt x="415125" y="1571"/>
                  </a:lnTo>
                  <a:lnTo>
                    <a:pt x="38258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180279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40043" y="-20595"/>
            <a:ext cx="9028670" cy="6878595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43697" y="2485216"/>
            <a:ext cx="7603525" cy="1325563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И ЧЕМ КОРМИТЬ ЧЕРЕЗ НГЗ </a:t>
            </a:r>
            <a:endParaRPr lang="ru-RU" sz="3200" b="1" dirty="0">
              <a:solidFill>
                <a:srgbClr val="FEF1E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8181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420130" y="679536"/>
            <a:ext cx="7801232" cy="481013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РИАНТЫ ЗОНДОВОГО ПИТАНИЯ ЧЕРЕЗ НГЗ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420130" y="2248073"/>
            <a:ext cx="8122508" cy="3073572"/>
          </a:xfrm>
        </p:spPr>
        <p:txBody>
          <a:bodyPr>
            <a:normAutofit lnSpcReduction="10000"/>
          </a:bodyPr>
          <a:lstStyle/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углосуточное с постоянной или нарастающей скоростью</a:t>
            </a:r>
          </a:p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иодическое (сеансовое): по 4-6 часов с перерывами на 2-3 часа</a:t>
            </a:r>
          </a:p>
          <a:p>
            <a:r>
              <a:rPr lang="ru-RU" sz="24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юсное</a:t>
            </a:r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- осуществляется </a:t>
            </a:r>
            <a:r>
              <a:rPr lang="ru-RU" sz="2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ько в желудок </a:t>
            </a:r>
            <a:endParaRPr lang="ru-RU" sz="24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2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-6 раз в сутки)</a:t>
            </a:r>
          </a:p>
          <a:p>
            <a:r>
              <a:rPr lang="ru-RU" sz="2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иклическое (в течение 10-12 часового ночного периода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7955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zdorov.online/upload/resize_cache/iblock/43e/200_0_2/43e2f07c5fa5d3a27ab3b6d8151f0769.jpg"/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544" b="58"/>
          <a:stretch/>
        </p:blipFill>
        <p:spPr bwMode="auto">
          <a:xfrm>
            <a:off x="4684542" y="2135530"/>
            <a:ext cx="4459458" cy="33958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1181" y="424591"/>
            <a:ext cx="7339694" cy="1325563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СФАГИЯ </a:t>
            </a:r>
            <a:r>
              <a:rPr lang="en-US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ЕЕ ВОСПРИЯТИЕ ПАЦИЕНТОМ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21181" y="2646871"/>
            <a:ext cx="4263361" cy="2669535"/>
          </a:xfrm>
        </p:spPr>
        <p:txBody>
          <a:bodyPr anchor="ctr">
            <a:noAutofit/>
          </a:bodyPr>
          <a:lstStyle/>
          <a:p>
            <a:pPr lvl="0">
              <a:lnSpc>
                <a:spcPct val="100000"/>
              </a:lnSpc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инический симптом нарушения функции глотания</a:t>
            </a:r>
          </a:p>
          <a:p>
            <a:pPr lvl="0">
              <a:lnSpc>
                <a:spcPct val="100000"/>
              </a:lnSpc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удности или дискомфорт продвижения пищевого комка от ротовой полости до желудка</a:t>
            </a:r>
          </a:p>
          <a:p>
            <a:pPr>
              <a:lnSpc>
                <a:spcPct val="100000"/>
              </a:lnSpc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воспринимается дисфагия пациентом?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препятствие для нормального движения проглоченной пищи, не сопровождающееся болевым синдромо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8734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29513" y="510381"/>
            <a:ext cx="8905103" cy="481013"/>
          </a:xfrm>
        </p:spPr>
        <p:txBody>
          <a:bodyPr/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ОСОБЫ ВВЕДЕНИЯ ЗОНДОВОГО ПИТАНИЯ</a:t>
            </a:r>
            <a:endParaRPr lang="ru-RU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6686958"/>
              </p:ext>
            </p:extLst>
          </p:nvPr>
        </p:nvGraphicFramePr>
        <p:xfrm>
          <a:off x="652175" y="1266020"/>
          <a:ext cx="7845040" cy="11887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95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499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188740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  <a:r>
                        <a:rPr lang="ru-RU" sz="1600" dirty="0" err="1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юсное</a:t>
                      </a:r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введение</a:t>
                      </a:r>
                      <a:endParaRPr lang="ru-RU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лительное непрерывное введение (вводить 15-16 часов, перерыв 8-9 часов)</a:t>
                      </a: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 flipH="1">
            <a:off x="4508792" y="2932671"/>
            <a:ext cx="2695" cy="939538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711149" y="2907957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 flipH="1">
            <a:off x="3773783" y="2538625"/>
            <a:ext cx="1470015" cy="3772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азание</a:t>
            </a:r>
            <a:endParaRPr lang="ru-RU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11149" y="3163500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ько через НГЗ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ум 250-300 м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658693" y="3138786"/>
            <a:ext cx="36904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но вводить в желудок и в кишку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711149" y="3872209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3534005" y="3959301"/>
            <a:ext cx="19495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</a:t>
            </a:r>
            <a:endParaRPr lang="ru-RU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V="1">
            <a:off x="711149" y="4397705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790804" y="4610024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храняется физиологическая последовательность пищеварения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662616" y="4531268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же диаре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иболее хорошая абсорбция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H="1">
            <a:off x="4508791" y="4420163"/>
            <a:ext cx="2695" cy="939538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 flipV="1">
            <a:off x="711149" y="5351783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731174" y="5479312"/>
            <a:ext cx="15552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достатки</a:t>
            </a:r>
            <a:endParaRPr lang="ru-RU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711148" y="5981689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H="1">
            <a:off x="4508791" y="5978426"/>
            <a:ext cx="2696" cy="87957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790804" y="6093278"/>
            <a:ext cx="291778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ьший риск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ургитации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ре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662616" y="6040804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введении в желудок более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сокий</a:t>
            </a:r>
          </a:p>
          <a:p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ктериальной колонизации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4508791" y="1266020"/>
            <a:ext cx="0" cy="129326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663676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119336" y="615800"/>
            <a:ext cx="3995352" cy="657225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М КОРМИТЬ?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344369" y="2088249"/>
            <a:ext cx="4407243" cy="3595687"/>
          </a:xfrm>
        </p:spPr>
        <p:txBody>
          <a:bodyPr/>
          <a:lstStyle/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льченное блендером естественное питание</a:t>
            </a:r>
          </a:p>
          <a:p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мельченное </a:t>
            </a:r>
            <a:r>
              <a:rPr lang="ru-RU" sz="20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лендером </a:t>
            </a:r>
            <a:r>
              <a:rPr lang="ru-RU" sz="200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ественное </a:t>
            </a:r>
            <a:r>
              <a:rPr lang="ru-RU" sz="200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200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тание </a:t>
            </a:r>
            <a:r>
              <a:rPr lang="ru-RU" sz="2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 зондовое 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ое питание</a:t>
            </a:r>
          </a:p>
          <a:p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лько зондовое </a:t>
            </a:r>
            <a:r>
              <a:rPr lang="ru-RU" sz="20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ое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итание  </a:t>
            </a:r>
          </a:p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51612" y="1527218"/>
            <a:ext cx="4392388" cy="437605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3199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140"/>
          <a:stretch/>
        </p:blipFill>
        <p:spPr>
          <a:xfrm>
            <a:off x="4914029" y="2046838"/>
            <a:ext cx="4229971" cy="324261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54227" y="518083"/>
            <a:ext cx="7488195" cy="657225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ИЛА КОРМЛЕНИЯ ЧЕРЕЗ НГЗ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569647" y="1610808"/>
            <a:ext cx="4344382" cy="4311621"/>
          </a:xfrm>
        </p:spPr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пациент в сознании, также побеседуйте с пациентом о сервировке стола, о его желании принимать пищу за столом в кровати, в кровати в палате, за столом в 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холле</a:t>
            </a:r>
          </a:p>
          <a:p>
            <a:pPr>
              <a:lnSpc>
                <a:spcPct val="120000"/>
              </a:lnSpc>
            </a:pP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дать </a:t>
            </a: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ильное положение для кормления (верхняя половина туловища должна быть минимум под углом 45 градусов, что помогает пищеварению и снижает вероятность 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флюкса</a:t>
            </a: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18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>
              <a:solidFill>
                <a:schemeClr val="tx1"/>
              </a:solidFill>
            </a:endParaRPr>
          </a:p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1933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469556" y="1121913"/>
            <a:ext cx="7298725" cy="53758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ИЛА КОРМЛЕНИЯ ЧЕРЕЗ НГЗ</a:t>
            </a:r>
            <a:r>
              <a:rPr lang="ru-RU" sz="2000" dirty="0">
                <a:solidFill>
                  <a:srgbClr val="002060"/>
                </a:solidFill>
              </a:rPr>
              <a:t/>
            </a:r>
            <a:br>
              <a:rPr lang="ru-RU" sz="2000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/>
            </a:r>
            <a:br>
              <a:rPr lang="ru-RU" dirty="0">
                <a:solidFill>
                  <a:srgbClr val="002060"/>
                </a:solidFill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469556" y="2947858"/>
            <a:ext cx="8327039" cy="3824287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</a:pP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мление любым способом должно длиться 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МЕНЕЕ !!! 15–20 минут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это физиологично и является профилактикой заброса содержимого желудка в пищевод и лёгкие.</a:t>
            </a:r>
          </a:p>
          <a:p>
            <a:pPr>
              <a:lnSpc>
                <a:spcPct val="120000"/>
              </a:lnSpc>
            </a:pPr>
            <a:r>
              <a:rPr lang="ru-RU" sz="18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прерывном введении 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тественной пищи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взбитой блендером, она может находиться в мешке 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БОЛЕЕ 4 часов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иначе пища испортится!</a:t>
            </a:r>
          </a:p>
          <a:p>
            <a:pPr>
              <a:lnSpc>
                <a:spcPct val="120000"/>
              </a:lnSpc>
            </a:pPr>
            <a:r>
              <a:rPr lang="ru-RU" sz="18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ондовое </a:t>
            </a:r>
            <a:r>
              <a:rPr lang="ru-RU" sz="1800" b="1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ое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итание 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ru-RU" sz="18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имер,нутризон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может находиться в мешке </a:t>
            </a:r>
            <a:r>
              <a:rPr lang="ru-RU" sz="18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БОЛЕЕ</a:t>
            </a: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8 часов. </a:t>
            </a:r>
          </a:p>
          <a:p>
            <a:pPr>
              <a:lnSpc>
                <a:spcPct val="120000"/>
              </a:lnSpc>
            </a:pPr>
            <a:r>
              <a:rPr lang="ru-RU" sz="18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шок и система для зондового питания меняются каждые 24 часа</a:t>
            </a:r>
          </a:p>
          <a:p>
            <a:pPr>
              <a:lnSpc>
                <a:spcPct val="120000"/>
              </a:lnSpc>
            </a:pPr>
            <a:endParaRPr lang="ru-RU" sz="2000" dirty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</a:pPr>
            <a:endParaRPr lang="ru-RU" sz="2000" dirty="0">
              <a:solidFill>
                <a:schemeClr val="tx1"/>
              </a:solidFill>
            </a:endParaRPr>
          </a:p>
          <a:p>
            <a:pPr>
              <a:lnSpc>
                <a:spcPct val="120000"/>
              </a:lnSpc>
            </a:pPr>
            <a:endParaRPr lang="ru-RU" sz="18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629561" y="1225663"/>
            <a:ext cx="1347520" cy="1270401"/>
            <a:chOff x="1898600" y="2705383"/>
            <a:chExt cx="1244600" cy="1244600"/>
          </a:xfrm>
          <a:solidFill>
            <a:srgbClr val="2E418D"/>
          </a:solidFill>
        </p:grpSpPr>
        <p:sp>
          <p:nvSpPr>
            <p:cNvPr id="6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7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8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2207740" y="1546485"/>
            <a:ext cx="31798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ОМНИТЕ</a:t>
            </a:r>
            <a:endParaRPr lang="ru-RU" sz="3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79428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quarter" idx="4294967295"/>
          </p:nvPr>
        </p:nvSpPr>
        <p:spPr>
          <a:xfrm>
            <a:off x="469556" y="3212371"/>
            <a:ext cx="8122508" cy="3452039"/>
          </a:xfrm>
        </p:spPr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кормление осуществляется естественной пищей, измельченной блендером, то необходимо проверить температуру пищи: питание должно быть комнатной температуры или температуры </a:t>
            </a:r>
            <a:r>
              <a:rPr lang="ru-RU" sz="2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а</a:t>
            </a:r>
            <a:endParaRPr lang="ru-RU" sz="2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20000"/>
              </a:lnSpc>
            </a:pP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сли кормление осуществляется зондовым </a:t>
            </a:r>
            <a:r>
              <a:rPr lang="ru-RU" sz="2000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ым</a:t>
            </a:r>
            <a:r>
              <a:rPr lang="ru-RU" sz="20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итанием, то проверить питание:  целостность упаковки, срок годности, правильность объёма, правильность времени приёма, температуру (питание должно быть комнатной температуры или температуры тела</a:t>
            </a:r>
            <a:r>
              <a:rPr lang="ru-RU" sz="2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2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469556" y="1121913"/>
            <a:ext cx="7298725" cy="53758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АВИЛА КОРМЛЕНИЯ ЧЕРЕЗ НГЗ</a:t>
            </a:r>
            <a:r>
              <a:rPr lang="ru-RU" sz="2000" dirty="0" smtClean="0">
                <a:solidFill>
                  <a:srgbClr val="002060"/>
                </a:solidFill>
              </a:rPr>
              <a:t/>
            </a:r>
            <a:br>
              <a:rPr lang="ru-RU" sz="2000" dirty="0" smtClean="0">
                <a:solidFill>
                  <a:srgbClr val="002060"/>
                </a:solidFill>
              </a:rPr>
            </a:br>
            <a:r>
              <a:rPr lang="ru-RU" dirty="0" smtClean="0">
                <a:solidFill>
                  <a:srgbClr val="002060"/>
                </a:solidFill>
              </a:rPr>
              <a:t/>
            </a:r>
            <a:br>
              <a:rPr lang="ru-RU" dirty="0" smtClean="0">
                <a:solidFill>
                  <a:srgbClr val="002060"/>
                </a:solidFill>
              </a:rPr>
            </a:b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637799" y="1390706"/>
            <a:ext cx="1347520" cy="1270401"/>
            <a:chOff x="1898600" y="2705383"/>
            <a:chExt cx="1244600" cy="1244600"/>
          </a:xfrm>
          <a:solidFill>
            <a:srgbClr val="2E418D"/>
          </a:solidFill>
        </p:grpSpPr>
        <p:sp>
          <p:nvSpPr>
            <p:cNvPr id="7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8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9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2153562" y="1733518"/>
            <a:ext cx="31798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ЕРЬТЕ</a:t>
            </a:r>
            <a:endParaRPr lang="ru-RU" sz="32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061153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0369" y="892348"/>
            <a:ext cx="8004604" cy="1325563"/>
          </a:xfrm>
        </p:spPr>
        <p:txBody>
          <a:bodyPr>
            <a:normAutofit fontScale="90000"/>
          </a:bodyPr>
          <a:lstStyle/>
          <a:p>
            <a:r>
              <a:rPr lang="ru-RU" sz="31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ИЛАКТИКА ОСЛОЖНЕНИЙ ЗОНДОВОГО ПИТАНИЯ</a:t>
            </a:r>
            <a:br>
              <a:rPr lang="ru-RU" sz="31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2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ХАНИЧЕСКИЕ ОСЛОЖНЕНИЯ (ПРИ КОРМЛЕНИИ ЧЕРЕЗ ЗОНД)</a:t>
            </a:r>
            <a:r>
              <a:rPr lang="ru-RU" sz="4000" dirty="0"/>
              <a:t/>
            </a:r>
            <a:br>
              <a:rPr lang="ru-RU" sz="4000" dirty="0"/>
            </a:br>
            <a:endParaRPr lang="ru-RU" sz="40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2299968"/>
              </p:ext>
            </p:extLst>
          </p:nvPr>
        </p:nvGraphicFramePr>
        <p:xfrm>
          <a:off x="639933" y="2217911"/>
          <a:ext cx="7845040" cy="800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5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9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80662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ОСЛОЖНЕНИЯ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endParaRPr lang="ru-RU" sz="1600" dirty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МЕРЫ</a:t>
                      </a:r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РОФИЛАКТИКИ</a:t>
                      </a:r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3497383" y="3018021"/>
            <a:ext cx="0" cy="350854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685028" y="3699595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761470" y="3174142"/>
            <a:ext cx="22733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ручивание зонд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46997" y="3834700"/>
            <a:ext cx="250581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аднение</a:t>
            </a:r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лизисто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61470" y="4469357"/>
            <a:ext cx="167706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спирация </a:t>
            </a:r>
            <a:endParaRPr lang="ru-RU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удочного </a:t>
            </a:r>
          </a:p>
          <a:p>
            <a:r>
              <a:rPr lang="ru-RU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ржимого</a:t>
            </a:r>
            <a:endParaRPr lang="ru-RU" sz="16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764810" y="4341791"/>
            <a:ext cx="7595286" cy="2471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612935" y="3018021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 промывать зонд каждые 4-8 часов небольшим количеством вод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613456" y="3841604"/>
            <a:ext cx="423705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теджеля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и постановк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612935" y="4464462"/>
            <a:ext cx="503809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головье кровати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.б.приподнято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а 30-45 градусов при кормлени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ленное капельное введение смеси, а н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юсное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роль за положением зонда и объемом остающейся жидкости в желудке каждые 4 часа при асците,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азе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замедленной моторике ЖКТ-«зонд на отток»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497383" y="1911146"/>
            <a:ext cx="0" cy="110687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763657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0369" y="892348"/>
            <a:ext cx="8004604" cy="1325563"/>
          </a:xfrm>
        </p:spPr>
        <p:txBody>
          <a:bodyPr>
            <a:normAutofit fontScale="90000"/>
          </a:bodyPr>
          <a:lstStyle/>
          <a:p>
            <a:r>
              <a:rPr lang="ru-RU" sz="31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ФИЛАКТИКА ОСЛОЖНЕНИЙ ЗОНДОВОГО ПИТАНИЯ</a:t>
            </a:r>
            <a:br>
              <a:rPr lang="ru-RU" sz="31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4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ЕЛУДОЧНО-КИШЕЧНЫЕ (НЕАСПИРАЦИОННЫЕ) ОСЛОЖЕНЕНИЯ</a:t>
            </a:r>
            <a: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40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40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6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2299968"/>
              </p:ext>
            </p:extLst>
          </p:nvPr>
        </p:nvGraphicFramePr>
        <p:xfrm>
          <a:off x="639933" y="2217911"/>
          <a:ext cx="7845040" cy="800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52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497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80662">
                <a:tc>
                  <a:txBody>
                    <a:bodyPr/>
                    <a:lstStyle/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r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ОСЛОЖНЕНИЯ</a:t>
                      </a:r>
                      <a:endParaRPr lang="ru-RU" sz="1600" baseline="0" dirty="0" smtClean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endParaRPr lang="ru-RU" sz="1600" dirty="0">
                        <a:solidFill>
                          <a:srgbClr val="FEF1E8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МЕРЫ</a:t>
                      </a:r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ПРОФИЛАКТИКИ</a:t>
                      </a:r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3497383" y="3018021"/>
            <a:ext cx="0" cy="3537524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761470" y="3174142"/>
            <a:ext cx="1300356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шнота </a:t>
            </a: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вота</a:t>
            </a: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ор</a:t>
            </a: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рея</a:t>
            </a:r>
          </a:p>
          <a:p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3497383" y="1911146"/>
            <a:ext cx="0" cy="110687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510224" y="3161869"/>
            <a:ext cx="5241993" cy="3108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ленное капельное применение смеси, а не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юсное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 случае возникновения симптом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менение смесей, не содержащих лактоз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использовать охлажденную смесь. Смесь должна быть комнатной температуры или подогретой до 36С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использовании сухой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ой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меси необходимо каждые 4-6 часов готовить новый раствор, а систему для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терального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итания промывать водой или </a:t>
            </a:r>
            <a:r>
              <a:rPr lang="ru-RU" sz="16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зраствором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шки и системы для кормления следует менять каждые 24 часа</a:t>
            </a:r>
          </a:p>
        </p:txBody>
      </p:sp>
    </p:spTree>
    <p:extLst>
      <p:ext uri="{BB962C8B-B14F-4D97-AF65-F5344CB8AC3E}">
        <p14:creationId xmlns:p14="http://schemas.microsoft.com/office/powerpoint/2010/main" val="413451306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5199075" y="2070891"/>
            <a:ext cx="2536653" cy="437698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08204" y="2083130"/>
            <a:ext cx="2536653" cy="437698"/>
          </a:xfrm>
          <a:prstGeom prst="roundRect">
            <a:avLst/>
          </a:prstGeom>
          <a:solidFill>
            <a:srgbClr val="C24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088" y="142704"/>
            <a:ext cx="4783609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ЗАБЛУЖДЕНИЯ 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4160" y="2004647"/>
            <a:ext cx="3729166" cy="310761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БЛУЖДЕНИЕ</a:t>
            </a:r>
          </a:p>
          <a:p>
            <a:pPr marL="0" indent="0">
              <a:buNone/>
            </a:pPr>
            <a:endPara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18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хглотковая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ба проводится только 1 раз при поступлении пациента, а если стоит зонд – то пробу больше проводить не над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object 3"/>
          <p:cNvSpPr/>
          <p:nvPr/>
        </p:nvSpPr>
        <p:spPr>
          <a:xfrm>
            <a:off x="4662201" y="2070891"/>
            <a:ext cx="453496" cy="449937"/>
          </a:xfrm>
          <a:custGeom>
            <a:avLst/>
            <a:gdLst/>
            <a:ahLst/>
            <a:cxnLst/>
            <a:rect l="l" t="t" r="r" b="b"/>
            <a:pathLst>
              <a:path w="1765300" h="1765300">
                <a:moveTo>
                  <a:pt x="882653" y="0"/>
                </a:moveTo>
                <a:lnTo>
                  <a:pt x="837496" y="1149"/>
                </a:lnTo>
                <a:lnTo>
                  <a:pt x="792434" y="4596"/>
                </a:lnTo>
                <a:lnTo>
                  <a:pt x="747563" y="10342"/>
                </a:lnTo>
                <a:lnTo>
                  <a:pt x="702977" y="18386"/>
                </a:lnTo>
                <a:lnTo>
                  <a:pt x="658771" y="28728"/>
                </a:lnTo>
                <a:lnTo>
                  <a:pt x="615040" y="41368"/>
                </a:lnTo>
                <a:lnTo>
                  <a:pt x="571881" y="56307"/>
                </a:lnTo>
                <a:lnTo>
                  <a:pt x="529387" y="73544"/>
                </a:lnTo>
                <a:lnTo>
                  <a:pt x="487653" y="93080"/>
                </a:lnTo>
                <a:lnTo>
                  <a:pt x="446776" y="114913"/>
                </a:lnTo>
                <a:lnTo>
                  <a:pt x="406850" y="139045"/>
                </a:lnTo>
                <a:lnTo>
                  <a:pt x="367969" y="165475"/>
                </a:lnTo>
                <a:lnTo>
                  <a:pt x="330230" y="194204"/>
                </a:lnTo>
                <a:lnTo>
                  <a:pt x="293727" y="225231"/>
                </a:lnTo>
                <a:lnTo>
                  <a:pt x="258556" y="258556"/>
                </a:lnTo>
                <a:lnTo>
                  <a:pt x="225231" y="293727"/>
                </a:lnTo>
                <a:lnTo>
                  <a:pt x="194204" y="330230"/>
                </a:lnTo>
                <a:lnTo>
                  <a:pt x="165475" y="367969"/>
                </a:lnTo>
                <a:lnTo>
                  <a:pt x="139045" y="406850"/>
                </a:lnTo>
                <a:lnTo>
                  <a:pt x="114913" y="446776"/>
                </a:lnTo>
                <a:lnTo>
                  <a:pt x="93080" y="487653"/>
                </a:lnTo>
                <a:lnTo>
                  <a:pt x="73544" y="529387"/>
                </a:lnTo>
                <a:lnTo>
                  <a:pt x="56307" y="571881"/>
                </a:lnTo>
                <a:lnTo>
                  <a:pt x="41368" y="615040"/>
                </a:lnTo>
                <a:lnTo>
                  <a:pt x="28728" y="658771"/>
                </a:lnTo>
                <a:lnTo>
                  <a:pt x="18386" y="702977"/>
                </a:lnTo>
                <a:lnTo>
                  <a:pt x="10318" y="747747"/>
                </a:lnTo>
                <a:lnTo>
                  <a:pt x="4596" y="792434"/>
                </a:lnTo>
                <a:lnTo>
                  <a:pt x="1149" y="837496"/>
                </a:lnTo>
                <a:lnTo>
                  <a:pt x="0" y="882653"/>
                </a:lnTo>
                <a:lnTo>
                  <a:pt x="1149" y="927809"/>
                </a:lnTo>
                <a:lnTo>
                  <a:pt x="4596" y="972871"/>
                </a:lnTo>
                <a:lnTo>
                  <a:pt x="10342" y="1017743"/>
                </a:lnTo>
                <a:lnTo>
                  <a:pt x="18386" y="1062329"/>
                </a:lnTo>
                <a:lnTo>
                  <a:pt x="28728" y="1106535"/>
                </a:lnTo>
                <a:lnTo>
                  <a:pt x="41368" y="1150265"/>
                </a:lnTo>
                <a:lnTo>
                  <a:pt x="56307" y="1193425"/>
                </a:lnTo>
                <a:lnTo>
                  <a:pt x="73544" y="1235919"/>
                </a:lnTo>
                <a:lnTo>
                  <a:pt x="93080" y="1277652"/>
                </a:lnTo>
                <a:lnTo>
                  <a:pt x="114913" y="1318529"/>
                </a:lnTo>
                <a:lnTo>
                  <a:pt x="139045" y="1358456"/>
                </a:lnTo>
                <a:lnTo>
                  <a:pt x="165475" y="1397336"/>
                </a:lnTo>
                <a:lnTo>
                  <a:pt x="194204" y="1435075"/>
                </a:lnTo>
                <a:lnTo>
                  <a:pt x="225231" y="1471578"/>
                </a:lnTo>
                <a:lnTo>
                  <a:pt x="258556" y="1506750"/>
                </a:lnTo>
                <a:lnTo>
                  <a:pt x="293728" y="1540074"/>
                </a:lnTo>
                <a:lnTo>
                  <a:pt x="330234" y="1571099"/>
                </a:lnTo>
                <a:lnTo>
                  <a:pt x="367979" y="1599827"/>
                </a:lnTo>
                <a:lnTo>
                  <a:pt x="406866" y="1626256"/>
                </a:lnTo>
                <a:lnTo>
                  <a:pt x="446801" y="1650387"/>
                </a:lnTo>
                <a:lnTo>
                  <a:pt x="487688" y="1672220"/>
                </a:lnTo>
                <a:lnTo>
                  <a:pt x="529431" y="1691754"/>
                </a:lnTo>
                <a:lnTo>
                  <a:pt x="571936" y="1708991"/>
                </a:lnTo>
                <a:lnTo>
                  <a:pt x="615108" y="1723929"/>
                </a:lnTo>
                <a:lnTo>
                  <a:pt x="658850" y="1736569"/>
                </a:lnTo>
                <a:lnTo>
                  <a:pt x="703067" y="1746911"/>
                </a:lnTo>
                <a:lnTo>
                  <a:pt x="747665" y="1754954"/>
                </a:lnTo>
                <a:lnTo>
                  <a:pt x="792548" y="1760700"/>
                </a:lnTo>
                <a:lnTo>
                  <a:pt x="837620" y="1764147"/>
                </a:lnTo>
                <a:lnTo>
                  <a:pt x="882786" y="1765296"/>
                </a:lnTo>
                <a:lnTo>
                  <a:pt x="927951" y="1764147"/>
                </a:lnTo>
                <a:lnTo>
                  <a:pt x="973020" y="1760700"/>
                </a:lnTo>
                <a:lnTo>
                  <a:pt x="1017896" y="1754954"/>
                </a:lnTo>
                <a:lnTo>
                  <a:pt x="1062486" y="1746911"/>
                </a:lnTo>
                <a:lnTo>
                  <a:pt x="1106693" y="1736569"/>
                </a:lnTo>
                <a:lnTo>
                  <a:pt x="1150422" y="1723929"/>
                </a:lnTo>
                <a:lnTo>
                  <a:pt x="1193578" y="1708991"/>
                </a:lnTo>
                <a:lnTo>
                  <a:pt x="1236065" y="1691754"/>
                </a:lnTo>
                <a:lnTo>
                  <a:pt x="1277789" y="1672220"/>
                </a:lnTo>
                <a:lnTo>
                  <a:pt x="1318653" y="1650387"/>
                </a:lnTo>
                <a:lnTo>
                  <a:pt x="1358563" y="1626256"/>
                </a:lnTo>
                <a:lnTo>
                  <a:pt x="1397423" y="1599827"/>
                </a:lnTo>
                <a:lnTo>
                  <a:pt x="1435137" y="1571099"/>
                </a:lnTo>
                <a:lnTo>
                  <a:pt x="1471611" y="1540074"/>
                </a:lnTo>
                <a:lnTo>
                  <a:pt x="1506750" y="1506750"/>
                </a:lnTo>
                <a:lnTo>
                  <a:pt x="1540075" y="1471578"/>
                </a:lnTo>
                <a:lnTo>
                  <a:pt x="1571101" y="1435075"/>
                </a:lnTo>
                <a:lnTo>
                  <a:pt x="1599830" y="1397336"/>
                </a:lnTo>
                <a:lnTo>
                  <a:pt x="1626260" y="1358456"/>
                </a:lnTo>
                <a:lnTo>
                  <a:pt x="1650392" y="1318529"/>
                </a:lnTo>
                <a:lnTo>
                  <a:pt x="1672226" y="1277652"/>
                </a:lnTo>
                <a:lnTo>
                  <a:pt x="1683359" y="1253867"/>
                </a:lnTo>
                <a:lnTo>
                  <a:pt x="764676" y="1253867"/>
                </a:lnTo>
                <a:lnTo>
                  <a:pt x="412378" y="901557"/>
                </a:lnTo>
                <a:lnTo>
                  <a:pt x="566188" y="747747"/>
                </a:lnTo>
                <a:lnTo>
                  <a:pt x="963327" y="747747"/>
                </a:lnTo>
                <a:lnTo>
                  <a:pt x="1199473" y="511794"/>
                </a:lnTo>
                <a:lnTo>
                  <a:pt x="1683526" y="511794"/>
                </a:lnTo>
                <a:lnTo>
                  <a:pt x="1672226" y="487653"/>
                </a:lnTo>
                <a:lnTo>
                  <a:pt x="1650392" y="446776"/>
                </a:lnTo>
                <a:lnTo>
                  <a:pt x="1626260" y="406850"/>
                </a:lnTo>
                <a:lnTo>
                  <a:pt x="1599830" y="367969"/>
                </a:lnTo>
                <a:lnTo>
                  <a:pt x="1571101" y="330230"/>
                </a:lnTo>
                <a:lnTo>
                  <a:pt x="1540075" y="293727"/>
                </a:lnTo>
                <a:lnTo>
                  <a:pt x="1506750" y="258556"/>
                </a:lnTo>
                <a:lnTo>
                  <a:pt x="1471578" y="225231"/>
                </a:lnTo>
                <a:lnTo>
                  <a:pt x="1435075" y="194204"/>
                </a:lnTo>
                <a:lnTo>
                  <a:pt x="1397336" y="165475"/>
                </a:lnTo>
                <a:lnTo>
                  <a:pt x="1358456" y="139045"/>
                </a:lnTo>
                <a:lnTo>
                  <a:pt x="1318529" y="114913"/>
                </a:lnTo>
                <a:lnTo>
                  <a:pt x="1277652" y="93080"/>
                </a:lnTo>
                <a:lnTo>
                  <a:pt x="1235919" y="73544"/>
                </a:lnTo>
                <a:lnTo>
                  <a:pt x="1193425" y="56307"/>
                </a:lnTo>
                <a:lnTo>
                  <a:pt x="1150265" y="41368"/>
                </a:lnTo>
                <a:lnTo>
                  <a:pt x="1106535" y="28728"/>
                </a:lnTo>
                <a:lnTo>
                  <a:pt x="1062329" y="18386"/>
                </a:lnTo>
                <a:lnTo>
                  <a:pt x="1017743" y="10342"/>
                </a:lnTo>
                <a:lnTo>
                  <a:pt x="972871" y="4596"/>
                </a:lnTo>
                <a:lnTo>
                  <a:pt x="927809" y="1149"/>
                </a:lnTo>
                <a:lnTo>
                  <a:pt x="882653" y="0"/>
                </a:lnTo>
                <a:close/>
              </a:path>
              <a:path w="1765300" h="1765300">
                <a:moveTo>
                  <a:pt x="1683526" y="511794"/>
                </a:moveTo>
                <a:lnTo>
                  <a:pt x="1199473" y="511794"/>
                </a:lnTo>
                <a:lnTo>
                  <a:pt x="1353296" y="665616"/>
                </a:lnTo>
                <a:lnTo>
                  <a:pt x="764676" y="1253867"/>
                </a:lnTo>
                <a:lnTo>
                  <a:pt x="1683359" y="1253867"/>
                </a:lnTo>
                <a:lnTo>
                  <a:pt x="1691761" y="1235919"/>
                </a:lnTo>
                <a:lnTo>
                  <a:pt x="1708998" y="1193425"/>
                </a:lnTo>
                <a:lnTo>
                  <a:pt x="1723937" y="1150265"/>
                </a:lnTo>
                <a:lnTo>
                  <a:pt x="1736577" y="1106535"/>
                </a:lnTo>
                <a:lnTo>
                  <a:pt x="1746920" y="1062329"/>
                </a:lnTo>
                <a:lnTo>
                  <a:pt x="1754964" y="1017743"/>
                </a:lnTo>
                <a:lnTo>
                  <a:pt x="1760709" y="972871"/>
                </a:lnTo>
                <a:lnTo>
                  <a:pt x="1764157" y="927809"/>
                </a:lnTo>
                <a:lnTo>
                  <a:pt x="1765306" y="882653"/>
                </a:lnTo>
                <a:lnTo>
                  <a:pt x="1764157" y="837496"/>
                </a:lnTo>
                <a:lnTo>
                  <a:pt x="1760709" y="792434"/>
                </a:lnTo>
                <a:lnTo>
                  <a:pt x="1754964" y="747563"/>
                </a:lnTo>
                <a:lnTo>
                  <a:pt x="1746920" y="702977"/>
                </a:lnTo>
                <a:lnTo>
                  <a:pt x="1736577" y="658771"/>
                </a:lnTo>
                <a:lnTo>
                  <a:pt x="1723937" y="615040"/>
                </a:lnTo>
                <a:lnTo>
                  <a:pt x="1708998" y="571881"/>
                </a:lnTo>
                <a:lnTo>
                  <a:pt x="1691761" y="529387"/>
                </a:lnTo>
                <a:lnTo>
                  <a:pt x="1683526" y="511794"/>
                </a:lnTo>
                <a:close/>
              </a:path>
              <a:path w="1765300" h="1765300">
                <a:moveTo>
                  <a:pt x="963327" y="747747"/>
                </a:moveTo>
                <a:lnTo>
                  <a:pt x="566188" y="747747"/>
                </a:lnTo>
                <a:lnTo>
                  <a:pt x="764676" y="946235"/>
                </a:lnTo>
                <a:lnTo>
                  <a:pt x="963327" y="747747"/>
                </a:lnTo>
                <a:close/>
              </a:path>
            </a:pathLst>
          </a:custGeom>
          <a:solidFill>
            <a:srgbClr val="02A2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/>
          <p:nvPr/>
        </p:nvSpPr>
        <p:spPr>
          <a:xfrm>
            <a:off x="404160" y="2072179"/>
            <a:ext cx="422613" cy="448649"/>
          </a:xfrm>
          <a:custGeom>
            <a:avLst/>
            <a:gdLst/>
            <a:ahLst/>
            <a:cxnLst/>
            <a:rect l="l" t="t" r="r" b="b"/>
            <a:pathLst>
              <a:path w="1778635" h="1778635">
                <a:moveTo>
                  <a:pt x="889000" y="0"/>
                </a:moveTo>
                <a:lnTo>
                  <a:pt x="840222" y="1315"/>
                </a:lnTo>
                <a:lnTo>
                  <a:pt x="792133" y="5218"/>
                </a:lnTo>
                <a:lnTo>
                  <a:pt x="744799" y="11639"/>
                </a:lnTo>
                <a:lnTo>
                  <a:pt x="698288" y="20510"/>
                </a:lnTo>
                <a:lnTo>
                  <a:pt x="652668" y="31765"/>
                </a:lnTo>
                <a:lnTo>
                  <a:pt x="608006" y="45335"/>
                </a:lnTo>
                <a:lnTo>
                  <a:pt x="564372" y="61152"/>
                </a:lnTo>
                <a:lnTo>
                  <a:pt x="521831" y="79149"/>
                </a:lnTo>
                <a:lnTo>
                  <a:pt x="480452" y="99257"/>
                </a:lnTo>
                <a:lnTo>
                  <a:pt x="440304" y="121409"/>
                </a:lnTo>
                <a:lnTo>
                  <a:pt x="401453" y="145537"/>
                </a:lnTo>
                <a:lnTo>
                  <a:pt x="363967" y="171573"/>
                </a:lnTo>
                <a:lnTo>
                  <a:pt x="327915" y="199450"/>
                </a:lnTo>
                <a:lnTo>
                  <a:pt x="293364" y="229099"/>
                </a:lnTo>
                <a:lnTo>
                  <a:pt x="260381" y="260453"/>
                </a:lnTo>
                <a:lnTo>
                  <a:pt x="229035" y="293443"/>
                </a:lnTo>
                <a:lnTo>
                  <a:pt x="199394" y="328003"/>
                </a:lnTo>
                <a:lnTo>
                  <a:pt x="171525" y="364063"/>
                </a:lnTo>
                <a:lnTo>
                  <a:pt x="145495" y="401557"/>
                </a:lnTo>
                <a:lnTo>
                  <a:pt x="121374" y="440417"/>
                </a:lnTo>
                <a:lnTo>
                  <a:pt x="99228" y="480574"/>
                </a:lnTo>
                <a:lnTo>
                  <a:pt x="79125" y="521961"/>
                </a:lnTo>
                <a:lnTo>
                  <a:pt x="61134" y="564510"/>
                </a:lnTo>
                <a:lnTo>
                  <a:pt x="45321" y="608153"/>
                </a:lnTo>
                <a:lnTo>
                  <a:pt x="31755" y="652822"/>
                </a:lnTo>
                <a:lnTo>
                  <a:pt x="20504" y="698450"/>
                </a:lnTo>
                <a:lnTo>
                  <a:pt x="11635" y="744969"/>
                </a:lnTo>
                <a:lnTo>
                  <a:pt x="5216" y="792310"/>
                </a:lnTo>
                <a:lnTo>
                  <a:pt x="1315" y="840406"/>
                </a:lnTo>
                <a:lnTo>
                  <a:pt x="0" y="889190"/>
                </a:lnTo>
                <a:lnTo>
                  <a:pt x="1315" y="937967"/>
                </a:lnTo>
                <a:lnTo>
                  <a:pt x="5216" y="986058"/>
                </a:lnTo>
                <a:lnTo>
                  <a:pt x="11635" y="1033394"/>
                </a:lnTo>
                <a:lnTo>
                  <a:pt x="20504" y="1079908"/>
                </a:lnTo>
                <a:lnTo>
                  <a:pt x="31755" y="1125531"/>
                </a:lnTo>
                <a:lnTo>
                  <a:pt x="45321" y="1170196"/>
                </a:lnTo>
                <a:lnTo>
                  <a:pt x="61134" y="1213835"/>
                </a:lnTo>
                <a:lnTo>
                  <a:pt x="79125" y="1256381"/>
                </a:lnTo>
                <a:lnTo>
                  <a:pt x="99228" y="1297764"/>
                </a:lnTo>
                <a:lnTo>
                  <a:pt x="121374" y="1337919"/>
                </a:lnTo>
                <a:lnTo>
                  <a:pt x="145495" y="1376775"/>
                </a:lnTo>
                <a:lnTo>
                  <a:pt x="171525" y="1414267"/>
                </a:lnTo>
                <a:lnTo>
                  <a:pt x="199394" y="1450325"/>
                </a:lnTo>
                <a:lnTo>
                  <a:pt x="229035" y="1484883"/>
                </a:lnTo>
                <a:lnTo>
                  <a:pt x="260381" y="1517872"/>
                </a:lnTo>
                <a:lnTo>
                  <a:pt x="293364" y="1549224"/>
                </a:lnTo>
                <a:lnTo>
                  <a:pt x="327915" y="1578872"/>
                </a:lnTo>
                <a:lnTo>
                  <a:pt x="363967" y="1606747"/>
                </a:lnTo>
                <a:lnTo>
                  <a:pt x="401453" y="1632782"/>
                </a:lnTo>
                <a:lnTo>
                  <a:pt x="440304" y="1656910"/>
                </a:lnTo>
                <a:lnTo>
                  <a:pt x="480452" y="1679061"/>
                </a:lnTo>
                <a:lnTo>
                  <a:pt x="521831" y="1699169"/>
                </a:lnTo>
                <a:lnTo>
                  <a:pt x="564372" y="1717165"/>
                </a:lnTo>
                <a:lnTo>
                  <a:pt x="608006" y="1732982"/>
                </a:lnTo>
                <a:lnTo>
                  <a:pt x="652668" y="1746552"/>
                </a:lnTo>
                <a:lnTo>
                  <a:pt x="698288" y="1757806"/>
                </a:lnTo>
                <a:lnTo>
                  <a:pt x="744799" y="1766678"/>
                </a:lnTo>
                <a:lnTo>
                  <a:pt x="792133" y="1773099"/>
                </a:lnTo>
                <a:lnTo>
                  <a:pt x="840222" y="1777001"/>
                </a:lnTo>
                <a:lnTo>
                  <a:pt x="889000" y="1778317"/>
                </a:lnTo>
                <a:lnTo>
                  <a:pt x="937801" y="1777001"/>
                </a:lnTo>
                <a:lnTo>
                  <a:pt x="985914" y="1773098"/>
                </a:lnTo>
                <a:lnTo>
                  <a:pt x="1033271" y="1766676"/>
                </a:lnTo>
                <a:lnTo>
                  <a:pt x="1079803" y="1757803"/>
                </a:lnTo>
                <a:lnTo>
                  <a:pt x="1125443" y="1746547"/>
                </a:lnTo>
                <a:lnTo>
                  <a:pt x="1170123" y="1732976"/>
                </a:lnTo>
                <a:lnTo>
                  <a:pt x="1213776" y="1717157"/>
                </a:lnTo>
                <a:lnTo>
                  <a:pt x="1256333" y="1699159"/>
                </a:lnTo>
                <a:lnTo>
                  <a:pt x="1297727" y="1679049"/>
                </a:lnTo>
                <a:lnTo>
                  <a:pt x="1337890" y="1656896"/>
                </a:lnTo>
                <a:lnTo>
                  <a:pt x="1376755" y="1632766"/>
                </a:lnTo>
                <a:lnTo>
                  <a:pt x="1414253" y="1606729"/>
                </a:lnTo>
                <a:lnTo>
                  <a:pt x="1450317" y="1578851"/>
                </a:lnTo>
                <a:lnTo>
                  <a:pt x="1484879" y="1549202"/>
                </a:lnTo>
                <a:lnTo>
                  <a:pt x="1517872" y="1517848"/>
                </a:lnTo>
                <a:lnTo>
                  <a:pt x="1549227" y="1484858"/>
                </a:lnTo>
                <a:lnTo>
                  <a:pt x="1578876" y="1450299"/>
                </a:lnTo>
                <a:lnTo>
                  <a:pt x="1606753" y="1414239"/>
                </a:lnTo>
                <a:lnTo>
                  <a:pt x="1632789" y="1376747"/>
                </a:lnTo>
                <a:lnTo>
                  <a:pt x="1656917" y="1337890"/>
                </a:lnTo>
                <a:lnTo>
                  <a:pt x="1679068" y="1297736"/>
                </a:lnTo>
                <a:lnTo>
                  <a:pt x="1691878" y="1271371"/>
                </a:lnTo>
                <a:lnTo>
                  <a:pt x="648373" y="1271371"/>
                </a:lnTo>
                <a:lnTo>
                  <a:pt x="506691" y="1129944"/>
                </a:lnTo>
                <a:lnTo>
                  <a:pt x="645804" y="1001993"/>
                </a:lnTo>
                <a:lnTo>
                  <a:pt x="717240" y="934297"/>
                </a:lnTo>
                <a:lnTo>
                  <a:pt x="743559" y="904316"/>
                </a:lnTo>
                <a:lnTo>
                  <a:pt x="747318" y="889508"/>
                </a:lnTo>
                <a:lnTo>
                  <a:pt x="709720" y="843457"/>
                </a:lnTo>
                <a:lnTo>
                  <a:pt x="627005" y="761612"/>
                </a:lnTo>
                <a:lnTo>
                  <a:pt x="544289" y="683510"/>
                </a:lnTo>
                <a:lnTo>
                  <a:pt x="506691" y="648690"/>
                </a:lnTo>
                <a:lnTo>
                  <a:pt x="648373" y="506945"/>
                </a:lnTo>
                <a:lnTo>
                  <a:pt x="1691880" y="506945"/>
                </a:lnTo>
                <a:lnTo>
                  <a:pt x="1679068" y="480574"/>
                </a:lnTo>
                <a:lnTo>
                  <a:pt x="1656917" y="440417"/>
                </a:lnTo>
                <a:lnTo>
                  <a:pt x="1632789" y="401557"/>
                </a:lnTo>
                <a:lnTo>
                  <a:pt x="1606753" y="364063"/>
                </a:lnTo>
                <a:lnTo>
                  <a:pt x="1578876" y="328003"/>
                </a:lnTo>
                <a:lnTo>
                  <a:pt x="1549227" y="293443"/>
                </a:lnTo>
                <a:lnTo>
                  <a:pt x="1517872" y="260453"/>
                </a:lnTo>
                <a:lnTo>
                  <a:pt x="1484879" y="229099"/>
                </a:lnTo>
                <a:lnTo>
                  <a:pt x="1450317" y="199450"/>
                </a:lnTo>
                <a:lnTo>
                  <a:pt x="1414253" y="171573"/>
                </a:lnTo>
                <a:lnTo>
                  <a:pt x="1376755" y="145537"/>
                </a:lnTo>
                <a:lnTo>
                  <a:pt x="1337890" y="121409"/>
                </a:lnTo>
                <a:lnTo>
                  <a:pt x="1297727" y="99257"/>
                </a:lnTo>
                <a:lnTo>
                  <a:pt x="1256333" y="79149"/>
                </a:lnTo>
                <a:lnTo>
                  <a:pt x="1213776" y="61152"/>
                </a:lnTo>
                <a:lnTo>
                  <a:pt x="1170123" y="45335"/>
                </a:lnTo>
                <a:lnTo>
                  <a:pt x="1125443" y="31765"/>
                </a:lnTo>
                <a:lnTo>
                  <a:pt x="1079803" y="20510"/>
                </a:lnTo>
                <a:lnTo>
                  <a:pt x="1033271" y="11639"/>
                </a:lnTo>
                <a:lnTo>
                  <a:pt x="985914" y="5218"/>
                </a:lnTo>
                <a:lnTo>
                  <a:pt x="937801" y="1315"/>
                </a:lnTo>
                <a:lnTo>
                  <a:pt x="889000" y="0"/>
                </a:lnTo>
                <a:close/>
              </a:path>
              <a:path w="1778635" h="1778635">
                <a:moveTo>
                  <a:pt x="888936" y="1030998"/>
                </a:moveTo>
                <a:lnTo>
                  <a:pt x="844404" y="1068556"/>
                </a:lnTo>
                <a:lnTo>
                  <a:pt x="762482" y="1151185"/>
                </a:lnTo>
                <a:lnTo>
                  <a:pt x="683646" y="1233813"/>
                </a:lnTo>
                <a:lnTo>
                  <a:pt x="648373" y="1271371"/>
                </a:lnTo>
                <a:lnTo>
                  <a:pt x="1129703" y="1271371"/>
                </a:lnTo>
                <a:lnTo>
                  <a:pt x="999918" y="1132406"/>
                </a:lnTo>
                <a:lnTo>
                  <a:pt x="931576" y="1061045"/>
                </a:lnTo>
                <a:lnTo>
                  <a:pt x="902106" y="1034754"/>
                </a:lnTo>
                <a:lnTo>
                  <a:pt x="888936" y="1030998"/>
                </a:lnTo>
                <a:close/>
              </a:path>
              <a:path w="1778635" h="1778635">
                <a:moveTo>
                  <a:pt x="1691880" y="506945"/>
                </a:moveTo>
                <a:lnTo>
                  <a:pt x="1129703" y="506945"/>
                </a:lnTo>
                <a:lnTo>
                  <a:pt x="1271308" y="648690"/>
                </a:lnTo>
                <a:lnTo>
                  <a:pt x="1132158" y="778469"/>
                </a:lnTo>
                <a:lnTo>
                  <a:pt x="1060704" y="846813"/>
                </a:lnTo>
                <a:lnTo>
                  <a:pt x="1034378" y="876301"/>
                </a:lnTo>
                <a:lnTo>
                  <a:pt x="1030617" y="889508"/>
                </a:lnTo>
                <a:lnTo>
                  <a:pt x="1068225" y="933810"/>
                </a:lnTo>
                <a:lnTo>
                  <a:pt x="1150962" y="1015712"/>
                </a:lnTo>
                <a:lnTo>
                  <a:pt x="1233700" y="1094621"/>
                </a:lnTo>
                <a:lnTo>
                  <a:pt x="1271308" y="1129944"/>
                </a:lnTo>
                <a:lnTo>
                  <a:pt x="1129703" y="1271371"/>
                </a:lnTo>
                <a:lnTo>
                  <a:pt x="1691878" y="1271371"/>
                </a:lnTo>
                <a:lnTo>
                  <a:pt x="1699175" y="1256354"/>
                </a:lnTo>
                <a:lnTo>
                  <a:pt x="1717171" y="1213809"/>
                </a:lnTo>
                <a:lnTo>
                  <a:pt x="1732987" y="1170172"/>
                </a:lnTo>
                <a:lnTo>
                  <a:pt x="1746555" y="1125509"/>
                </a:lnTo>
                <a:lnTo>
                  <a:pt x="1757809" y="1079889"/>
                </a:lnTo>
                <a:lnTo>
                  <a:pt x="1766679" y="1033379"/>
                </a:lnTo>
                <a:lnTo>
                  <a:pt x="1773100" y="986047"/>
                </a:lnTo>
                <a:lnTo>
                  <a:pt x="1777001" y="937967"/>
                </a:lnTo>
                <a:lnTo>
                  <a:pt x="1778317" y="889190"/>
                </a:lnTo>
                <a:lnTo>
                  <a:pt x="1777001" y="840406"/>
                </a:lnTo>
                <a:lnTo>
                  <a:pt x="1773100" y="792310"/>
                </a:lnTo>
                <a:lnTo>
                  <a:pt x="1766679" y="744969"/>
                </a:lnTo>
                <a:lnTo>
                  <a:pt x="1757809" y="698450"/>
                </a:lnTo>
                <a:lnTo>
                  <a:pt x="1746555" y="652822"/>
                </a:lnTo>
                <a:lnTo>
                  <a:pt x="1732987" y="608153"/>
                </a:lnTo>
                <a:lnTo>
                  <a:pt x="1717171" y="564510"/>
                </a:lnTo>
                <a:lnTo>
                  <a:pt x="1699175" y="521961"/>
                </a:lnTo>
                <a:lnTo>
                  <a:pt x="1691880" y="506945"/>
                </a:lnTo>
                <a:close/>
              </a:path>
              <a:path w="1778635" h="1778635">
                <a:moveTo>
                  <a:pt x="1129703" y="506945"/>
                </a:moveTo>
                <a:lnTo>
                  <a:pt x="648373" y="506945"/>
                </a:lnTo>
                <a:lnTo>
                  <a:pt x="779219" y="645984"/>
                </a:lnTo>
                <a:lnTo>
                  <a:pt x="847893" y="717383"/>
                </a:lnTo>
                <a:lnTo>
                  <a:pt x="876948" y="743687"/>
                </a:lnTo>
                <a:lnTo>
                  <a:pt x="888936" y="747445"/>
                </a:lnTo>
                <a:lnTo>
                  <a:pt x="932782" y="709867"/>
                </a:lnTo>
                <a:lnTo>
                  <a:pt x="1014853" y="627195"/>
                </a:lnTo>
                <a:lnTo>
                  <a:pt x="1094158" y="544524"/>
                </a:lnTo>
                <a:lnTo>
                  <a:pt x="1129703" y="506945"/>
                </a:lnTo>
                <a:close/>
              </a:path>
            </a:pathLst>
          </a:custGeom>
          <a:solidFill>
            <a:srgbClr val="C24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Прямоугольник 6"/>
          <p:cNvSpPr/>
          <p:nvPr/>
        </p:nvSpPr>
        <p:spPr>
          <a:xfrm>
            <a:off x="4596714" y="2070891"/>
            <a:ext cx="4160108" cy="3128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САМОМ ДЕЛЕ</a:t>
            </a:r>
            <a:endParaRPr lang="ru-RU" i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язательно 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одить тестирование  глотания в динамике на фоне НГЗ с целью изменения диеты и отражать в истории </a:t>
            </a:r>
            <a:r>
              <a:rPr lang="ru-RU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зни</a:t>
            </a:r>
            <a:endParaRPr lang="ru-RU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8225" y="5530388"/>
            <a:ext cx="85640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ассоциация по борьбе с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ультом Всероссийское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ство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врологов Ассоциация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хирургов России</a:t>
            </a: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О Объединение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анестези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реаниматологов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российская общественная организация содействия развитию медицинской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ии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Союз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оссии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стика и лечение дисфагии при заболеваниях центральной нервной системы. Клинические рекомендации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923445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5199075" y="2070891"/>
            <a:ext cx="2536653" cy="437698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08204" y="2083130"/>
            <a:ext cx="2536653" cy="437698"/>
          </a:xfrm>
          <a:prstGeom prst="roundRect">
            <a:avLst/>
          </a:prstGeom>
          <a:solidFill>
            <a:srgbClr val="C24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088" y="142704"/>
            <a:ext cx="4783609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ЗАБЛУЖДЕНИЯ 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5301" y="2070891"/>
            <a:ext cx="3951588" cy="24960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БЛУЖДЕНИЕ</a:t>
            </a:r>
          </a:p>
          <a:p>
            <a:pPr marL="0" indent="0">
              <a:buNone/>
            </a:pPr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а </a:t>
            </a:r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надо  кормить через рот, если у него стоит зонд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object 3"/>
          <p:cNvSpPr/>
          <p:nvPr/>
        </p:nvSpPr>
        <p:spPr>
          <a:xfrm>
            <a:off x="4662201" y="2070891"/>
            <a:ext cx="453496" cy="449937"/>
          </a:xfrm>
          <a:custGeom>
            <a:avLst/>
            <a:gdLst/>
            <a:ahLst/>
            <a:cxnLst/>
            <a:rect l="l" t="t" r="r" b="b"/>
            <a:pathLst>
              <a:path w="1765300" h="1765300">
                <a:moveTo>
                  <a:pt x="882653" y="0"/>
                </a:moveTo>
                <a:lnTo>
                  <a:pt x="837496" y="1149"/>
                </a:lnTo>
                <a:lnTo>
                  <a:pt x="792434" y="4596"/>
                </a:lnTo>
                <a:lnTo>
                  <a:pt x="747563" y="10342"/>
                </a:lnTo>
                <a:lnTo>
                  <a:pt x="702977" y="18386"/>
                </a:lnTo>
                <a:lnTo>
                  <a:pt x="658771" y="28728"/>
                </a:lnTo>
                <a:lnTo>
                  <a:pt x="615040" y="41368"/>
                </a:lnTo>
                <a:lnTo>
                  <a:pt x="571881" y="56307"/>
                </a:lnTo>
                <a:lnTo>
                  <a:pt x="529387" y="73544"/>
                </a:lnTo>
                <a:lnTo>
                  <a:pt x="487653" y="93080"/>
                </a:lnTo>
                <a:lnTo>
                  <a:pt x="446776" y="114913"/>
                </a:lnTo>
                <a:lnTo>
                  <a:pt x="406850" y="139045"/>
                </a:lnTo>
                <a:lnTo>
                  <a:pt x="367969" y="165475"/>
                </a:lnTo>
                <a:lnTo>
                  <a:pt x="330230" y="194204"/>
                </a:lnTo>
                <a:lnTo>
                  <a:pt x="293727" y="225231"/>
                </a:lnTo>
                <a:lnTo>
                  <a:pt x="258556" y="258556"/>
                </a:lnTo>
                <a:lnTo>
                  <a:pt x="225231" y="293727"/>
                </a:lnTo>
                <a:lnTo>
                  <a:pt x="194204" y="330230"/>
                </a:lnTo>
                <a:lnTo>
                  <a:pt x="165475" y="367969"/>
                </a:lnTo>
                <a:lnTo>
                  <a:pt x="139045" y="406850"/>
                </a:lnTo>
                <a:lnTo>
                  <a:pt x="114913" y="446776"/>
                </a:lnTo>
                <a:lnTo>
                  <a:pt x="93080" y="487653"/>
                </a:lnTo>
                <a:lnTo>
                  <a:pt x="73544" y="529387"/>
                </a:lnTo>
                <a:lnTo>
                  <a:pt x="56307" y="571881"/>
                </a:lnTo>
                <a:lnTo>
                  <a:pt x="41368" y="615040"/>
                </a:lnTo>
                <a:lnTo>
                  <a:pt x="28728" y="658771"/>
                </a:lnTo>
                <a:lnTo>
                  <a:pt x="18386" y="702977"/>
                </a:lnTo>
                <a:lnTo>
                  <a:pt x="10318" y="747747"/>
                </a:lnTo>
                <a:lnTo>
                  <a:pt x="4596" y="792434"/>
                </a:lnTo>
                <a:lnTo>
                  <a:pt x="1149" y="837496"/>
                </a:lnTo>
                <a:lnTo>
                  <a:pt x="0" y="882653"/>
                </a:lnTo>
                <a:lnTo>
                  <a:pt x="1149" y="927809"/>
                </a:lnTo>
                <a:lnTo>
                  <a:pt x="4596" y="972871"/>
                </a:lnTo>
                <a:lnTo>
                  <a:pt x="10342" y="1017743"/>
                </a:lnTo>
                <a:lnTo>
                  <a:pt x="18386" y="1062329"/>
                </a:lnTo>
                <a:lnTo>
                  <a:pt x="28728" y="1106535"/>
                </a:lnTo>
                <a:lnTo>
                  <a:pt x="41368" y="1150265"/>
                </a:lnTo>
                <a:lnTo>
                  <a:pt x="56307" y="1193425"/>
                </a:lnTo>
                <a:lnTo>
                  <a:pt x="73544" y="1235919"/>
                </a:lnTo>
                <a:lnTo>
                  <a:pt x="93080" y="1277652"/>
                </a:lnTo>
                <a:lnTo>
                  <a:pt x="114913" y="1318529"/>
                </a:lnTo>
                <a:lnTo>
                  <a:pt x="139045" y="1358456"/>
                </a:lnTo>
                <a:lnTo>
                  <a:pt x="165475" y="1397336"/>
                </a:lnTo>
                <a:lnTo>
                  <a:pt x="194204" y="1435075"/>
                </a:lnTo>
                <a:lnTo>
                  <a:pt x="225231" y="1471578"/>
                </a:lnTo>
                <a:lnTo>
                  <a:pt x="258556" y="1506750"/>
                </a:lnTo>
                <a:lnTo>
                  <a:pt x="293728" y="1540074"/>
                </a:lnTo>
                <a:lnTo>
                  <a:pt x="330234" y="1571099"/>
                </a:lnTo>
                <a:lnTo>
                  <a:pt x="367979" y="1599827"/>
                </a:lnTo>
                <a:lnTo>
                  <a:pt x="406866" y="1626256"/>
                </a:lnTo>
                <a:lnTo>
                  <a:pt x="446801" y="1650387"/>
                </a:lnTo>
                <a:lnTo>
                  <a:pt x="487688" y="1672220"/>
                </a:lnTo>
                <a:lnTo>
                  <a:pt x="529431" y="1691754"/>
                </a:lnTo>
                <a:lnTo>
                  <a:pt x="571936" y="1708991"/>
                </a:lnTo>
                <a:lnTo>
                  <a:pt x="615108" y="1723929"/>
                </a:lnTo>
                <a:lnTo>
                  <a:pt x="658850" y="1736569"/>
                </a:lnTo>
                <a:lnTo>
                  <a:pt x="703067" y="1746911"/>
                </a:lnTo>
                <a:lnTo>
                  <a:pt x="747665" y="1754954"/>
                </a:lnTo>
                <a:lnTo>
                  <a:pt x="792548" y="1760700"/>
                </a:lnTo>
                <a:lnTo>
                  <a:pt x="837620" y="1764147"/>
                </a:lnTo>
                <a:lnTo>
                  <a:pt x="882786" y="1765296"/>
                </a:lnTo>
                <a:lnTo>
                  <a:pt x="927951" y="1764147"/>
                </a:lnTo>
                <a:lnTo>
                  <a:pt x="973020" y="1760700"/>
                </a:lnTo>
                <a:lnTo>
                  <a:pt x="1017896" y="1754954"/>
                </a:lnTo>
                <a:lnTo>
                  <a:pt x="1062486" y="1746911"/>
                </a:lnTo>
                <a:lnTo>
                  <a:pt x="1106693" y="1736569"/>
                </a:lnTo>
                <a:lnTo>
                  <a:pt x="1150422" y="1723929"/>
                </a:lnTo>
                <a:lnTo>
                  <a:pt x="1193578" y="1708991"/>
                </a:lnTo>
                <a:lnTo>
                  <a:pt x="1236065" y="1691754"/>
                </a:lnTo>
                <a:lnTo>
                  <a:pt x="1277789" y="1672220"/>
                </a:lnTo>
                <a:lnTo>
                  <a:pt x="1318653" y="1650387"/>
                </a:lnTo>
                <a:lnTo>
                  <a:pt x="1358563" y="1626256"/>
                </a:lnTo>
                <a:lnTo>
                  <a:pt x="1397423" y="1599827"/>
                </a:lnTo>
                <a:lnTo>
                  <a:pt x="1435137" y="1571099"/>
                </a:lnTo>
                <a:lnTo>
                  <a:pt x="1471611" y="1540074"/>
                </a:lnTo>
                <a:lnTo>
                  <a:pt x="1506750" y="1506750"/>
                </a:lnTo>
                <a:lnTo>
                  <a:pt x="1540075" y="1471578"/>
                </a:lnTo>
                <a:lnTo>
                  <a:pt x="1571101" y="1435075"/>
                </a:lnTo>
                <a:lnTo>
                  <a:pt x="1599830" y="1397336"/>
                </a:lnTo>
                <a:lnTo>
                  <a:pt x="1626260" y="1358456"/>
                </a:lnTo>
                <a:lnTo>
                  <a:pt x="1650392" y="1318529"/>
                </a:lnTo>
                <a:lnTo>
                  <a:pt x="1672226" y="1277652"/>
                </a:lnTo>
                <a:lnTo>
                  <a:pt x="1683359" y="1253867"/>
                </a:lnTo>
                <a:lnTo>
                  <a:pt x="764676" y="1253867"/>
                </a:lnTo>
                <a:lnTo>
                  <a:pt x="412378" y="901557"/>
                </a:lnTo>
                <a:lnTo>
                  <a:pt x="566188" y="747747"/>
                </a:lnTo>
                <a:lnTo>
                  <a:pt x="963327" y="747747"/>
                </a:lnTo>
                <a:lnTo>
                  <a:pt x="1199473" y="511794"/>
                </a:lnTo>
                <a:lnTo>
                  <a:pt x="1683526" y="511794"/>
                </a:lnTo>
                <a:lnTo>
                  <a:pt x="1672226" y="487653"/>
                </a:lnTo>
                <a:lnTo>
                  <a:pt x="1650392" y="446776"/>
                </a:lnTo>
                <a:lnTo>
                  <a:pt x="1626260" y="406850"/>
                </a:lnTo>
                <a:lnTo>
                  <a:pt x="1599830" y="367969"/>
                </a:lnTo>
                <a:lnTo>
                  <a:pt x="1571101" y="330230"/>
                </a:lnTo>
                <a:lnTo>
                  <a:pt x="1540075" y="293727"/>
                </a:lnTo>
                <a:lnTo>
                  <a:pt x="1506750" y="258556"/>
                </a:lnTo>
                <a:lnTo>
                  <a:pt x="1471578" y="225231"/>
                </a:lnTo>
                <a:lnTo>
                  <a:pt x="1435075" y="194204"/>
                </a:lnTo>
                <a:lnTo>
                  <a:pt x="1397336" y="165475"/>
                </a:lnTo>
                <a:lnTo>
                  <a:pt x="1358456" y="139045"/>
                </a:lnTo>
                <a:lnTo>
                  <a:pt x="1318529" y="114913"/>
                </a:lnTo>
                <a:lnTo>
                  <a:pt x="1277652" y="93080"/>
                </a:lnTo>
                <a:lnTo>
                  <a:pt x="1235919" y="73544"/>
                </a:lnTo>
                <a:lnTo>
                  <a:pt x="1193425" y="56307"/>
                </a:lnTo>
                <a:lnTo>
                  <a:pt x="1150265" y="41368"/>
                </a:lnTo>
                <a:lnTo>
                  <a:pt x="1106535" y="28728"/>
                </a:lnTo>
                <a:lnTo>
                  <a:pt x="1062329" y="18386"/>
                </a:lnTo>
                <a:lnTo>
                  <a:pt x="1017743" y="10342"/>
                </a:lnTo>
                <a:lnTo>
                  <a:pt x="972871" y="4596"/>
                </a:lnTo>
                <a:lnTo>
                  <a:pt x="927809" y="1149"/>
                </a:lnTo>
                <a:lnTo>
                  <a:pt x="882653" y="0"/>
                </a:lnTo>
                <a:close/>
              </a:path>
              <a:path w="1765300" h="1765300">
                <a:moveTo>
                  <a:pt x="1683526" y="511794"/>
                </a:moveTo>
                <a:lnTo>
                  <a:pt x="1199473" y="511794"/>
                </a:lnTo>
                <a:lnTo>
                  <a:pt x="1353296" y="665616"/>
                </a:lnTo>
                <a:lnTo>
                  <a:pt x="764676" y="1253867"/>
                </a:lnTo>
                <a:lnTo>
                  <a:pt x="1683359" y="1253867"/>
                </a:lnTo>
                <a:lnTo>
                  <a:pt x="1691761" y="1235919"/>
                </a:lnTo>
                <a:lnTo>
                  <a:pt x="1708998" y="1193425"/>
                </a:lnTo>
                <a:lnTo>
                  <a:pt x="1723937" y="1150265"/>
                </a:lnTo>
                <a:lnTo>
                  <a:pt x="1736577" y="1106535"/>
                </a:lnTo>
                <a:lnTo>
                  <a:pt x="1746920" y="1062329"/>
                </a:lnTo>
                <a:lnTo>
                  <a:pt x="1754964" y="1017743"/>
                </a:lnTo>
                <a:lnTo>
                  <a:pt x="1760709" y="972871"/>
                </a:lnTo>
                <a:lnTo>
                  <a:pt x="1764157" y="927809"/>
                </a:lnTo>
                <a:lnTo>
                  <a:pt x="1765306" y="882653"/>
                </a:lnTo>
                <a:lnTo>
                  <a:pt x="1764157" y="837496"/>
                </a:lnTo>
                <a:lnTo>
                  <a:pt x="1760709" y="792434"/>
                </a:lnTo>
                <a:lnTo>
                  <a:pt x="1754964" y="747563"/>
                </a:lnTo>
                <a:lnTo>
                  <a:pt x="1746920" y="702977"/>
                </a:lnTo>
                <a:lnTo>
                  <a:pt x="1736577" y="658771"/>
                </a:lnTo>
                <a:lnTo>
                  <a:pt x="1723937" y="615040"/>
                </a:lnTo>
                <a:lnTo>
                  <a:pt x="1708998" y="571881"/>
                </a:lnTo>
                <a:lnTo>
                  <a:pt x="1691761" y="529387"/>
                </a:lnTo>
                <a:lnTo>
                  <a:pt x="1683526" y="511794"/>
                </a:lnTo>
                <a:close/>
              </a:path>
              <a:path w="1765300" h="1765300">
                <a:moveTo>
                  <a:pt x="963327" y="747747"/>
                </a:moveTo>
                <a:lnTo>
                  <a:pt x="566188" y="747747"/>
                </a:lnTo>
                <a:lnTo>
                  <a:pt x="764676" y="946235"/>
                </a:lnTo>
                <a:lnTo>
                  <a:pt x="963327" y="747747"/>
                </a:lnTo>
                <a:close/>
              </a:path>
            </a:pathLst>
          </a:custGeom>
          <a:solidFill>
            <a:srgbClr val="02A2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/>
          <p:nvPr/>
        </p:nvSpPr>
        <p:spPr>
          <a:xfrm>
            <a:off x="404160" y="2072179"/>
            <a:ext cx="422613" cy="448649"/>
          </a:xfrm>
          <a:custGeom>
            <a:avLst/>
            <a:gdLst/>
            <a:ahLst/>
            <a:cxnLst/>
            <a:rect l="l" t="t" r="r" b="b"/>
            <a:pathLst>
              <a:path w="1778635" h="1778635">
                <a:moveTo>
                  <a:pt x="889000" y="0"/>
                </a:moveTo>
                <a:lnTo>
                  <a:pt x="840222" y="1315"/>
                </a:lnTo>
                <a:lnTo>
                  <a:pt x="792133" y="5218"/>
                </a:lnTo>
                <a:lnTo>
                  <a:pt x="744799" y="11639"/>
                </a:lnTo>
                <a:lnTo>
                  <a:pt x="698288" y="20510"/>
                </a:lnTo>
                <a:lnTo>
                  <a:pt x="652668" y="31765"/>
                </a:lnTo>
                <a:lnTo>
                  <a:pt x="608006" y="45335"/>
                </a:lnTo>
                <a:lnTo>
                  <a:pt x="564372" y="61152"/>
                </a:lnTo>
                <a:lnTo>
                  <a:pt x="521831" y="79149"/>
                </a:lnTo>
                <a:lnTo>
                  <a:pt x="480452" y="99257"/>
                </a:lnTo>
                <a:lnTo>
                  <a:pt x="440304" y="121409"/>
                </a:lnTo>
                <a:lnTo>
                  <a:pt x="401453" y="145537"/>
                </a:lnTo>
                <a:lnTo>
                  <a:pt x="363967" y="171573"/>
                </a:lnTo>
                <a:lnTo>
                  <a:pt x="327915" y="199450"/>
                </a:lnTo>
                <a:lnTo>
                  <a:pt x="293364" y="229099"/>
                </a:lnTo>
                <a:lnTo>
                  <a:pt x="260381" y="260453"/>
                </a:lnTo>
                <a:lnTo>
                  <a:pt x="229035" y="293443"/>
                </a:lnTo>
                <a:lnTo>
                  <a:pt x="199394" y="328003"/>
                </a:lnTo>
                <a:lnTo>
                  <a:pt x="171525" y="364063"/>
                </a:lnTo>
                <a:lnTo>
                  <a:pt x="145495" y="401557"/>
                </a:lnTo>
                <a:lnTo>
                  <a:pt x="121374" y="440417"/>
                </a:lnTo>
                <a:lnTo>
                  <a:pt x="99228" y="480574"/>
                </a:lnTo>
                <a:lnTo>
                  <a:pt x="79125" y="521961"/>
                </a:lnTo>
                <a:lnTo>
                  <a:pt x="61134" y="564510"/>
                </a:lnTo>
                <a:lnTo>
                  <a:pt x="45321" y="608153"/>
                </a:lnTo>
                <a:lnTo>
                  <a:pt x="31755" y="652822"/>
                </a:lnTo>
                <a:lnTo>
                  <a:pt x="20504" y="698450"/>
                </a:lnTo>
                <a:lnTo>
                  <a:pt x="11635" y="744969"/>
                </a:lnTo>
                <a:lnTo>
                  <a:pt x="5216" y="792310"/>
                </a:lnTo>
                <a:lnTo>
                  <a:pt x="1315" y="840406"/>
                </a:lnTo>
                <a:lnTo>
                  <a:pt x="0" y="889190"/>
                </a:lnTo>
                <a:lnTo>
                  <a:pt x="1315" y="937967"/>
                </a:lnTo>
                <a:lnTo>
                  <a:pt x="5216" y="986058"/>
                </a:lnTo>
                <a:lnTo>
                  <a:pt x="11635" y="1033394"/>
                </a:lnTo>
                <a:lnTo>
                  <a:pt x="20504" y="1079908"/>
                </a:lnTo>
                <a:lnTo>
                  <a:pt x="31755" y="1125531"/>
                </a:lnTo>
                <a:lnTo>
                  <a:pt x="45321" y="1170196"/>
                </a:lnTo>
                <a:lnTo>
                  <a:pt x="61134" y="1213835"/>
                </a:lnTo>
                <a:lnTo>
                  <a:pt x="79125" y="1256381"/>
                </a:lnTo>
                <a:lnTo>
                  <a:pt x="99228" y="1297764"/>
                </a:lnTo>
                <a:lnTo>
                  <a:pt x="121374" y="1337919"/>
                </a:lnTo>
                <a:lnTo>
                  <a:pt x="145495" y="1376775"/>
                </a:lnTo>
                <a:lnTo>
                  <a:pt x="171525" y="1414267"/>
                </a:lnTo>
                <a:lnTo>
                  <a:pt x="199394" y="1450325"/>
                </a:lnTo>
                <a:lnTo>
                  <a:pt x="229035" y="1484883"/>
                </a:lnTo>
                <a:lnTo>
                  <a:pt x="260381" y="1517872"/>
                </a:lnTo>
                <a:lnTo>
                  <a:pt x="293364" y="1549224"/>
                </a:lnTo>
                <a:lnTo>
                  <a:pt x="327915" y="1578872"/>
                </a:lnTo>
                <a:lnTo>
                  <a:pt x="363967" y="1606747"/>
                </a:lnTo>
                <a:lnTo>
                  <a:pt x="401453" y="1632782"/>
                </a:lnTo>
                <a:lnTo>
                  <a:pt x="440304" y="1656910"/>
                </a:lnTo>
                <a:lnTo>
                  <a:pt x="480452" y="1679061"/>
                </a:lnTo>
                <a:lnTo>
                  <a:pt x="521831" y="1699169"/>
                </a:lnTo>
                <a:lnTo>
                  <a:pt x="564372" y="1717165"/>
                </a:lnTo>
                <a:lnTo>
                  <a:pt x="608006" y="1732982"/>
                </a:lnTo>
                <a:lnTo>
                  <a:pt x="652668" y="1746552"/>
                </a:lnTo>
                <a:lnTo>
                  <a:pt x="698288" y="1757806"/>
                </a:lnTo>
                <a:lnTo>
                  <a:pt x="744799" y="1766678"/>
                </a:lnTo>
                <a:lnTo>
                  <a:pt x="792133" y="1773099"/>
                </a:lnTo>
                <a:lnTo>
                  <a:pt x="840222" y="1777001"/>
                </a:lnTo>
                <a:lnTo>
                  <a:pt x="889000" y="1778317"/>
                </a:lnTo>
                <a:lnTo>
                  <a:pt x="937801" y="1777001"/>
                </a:lnTo>
                <a:lnTo>
                  <a:pt x="985914" y="1773098"/>
                </a:lnTo>
                <a:lnTo>
                  <a:pt x="1033271" y="1766676"/>
                </a:lnTo>
                <a:lnTo>
                  <a:pt x="1079803" y="1757803"/>
                </a:lnTo>
                <a:lnTo>
                  <a:pt x="1125443" y="1746547"/>
                </a:lnTo>
                <a:lnTo>
                  <a:pt x="1170123" y="1732976"/>
                </a:lnTo>
                <a:lnTo>
                  <a:pt x="1213776" y="1717157"/>
                </a:lnTo>
                <a:lnTo>
                  <a:pt x="1256333" y="1699159"/>
                </a:lnTo>
                <a:lnTo>
                  <a:pt x="1297727" y="1679049"/>
                </a:lnTo>
                <a:lnTo>
                  <a:pt x="1337890" y="1656896"/>
                </a:lnTo>
                <a:lnTo>
                  <a:pt x="1376755" y="1632766"/>
                </a:lnTo>
                <a:lnTo>
                  <a:pt x="1414253" y="1606729"/>
                </a:lnTo>
                <a:lnTo>
                  <a:pt x="1450317" y="1578851"/>
                </a:lnTo>
                <a:lnTo>
                  <a:pt x="1484879" y="1549202"/>
                </a:lnTo>
                <a:lnTo>
                  <a:pt x="1517872" y="1517848"/>
                </a:lnTo>
                <a:lnTo>
                  <a:pt x="1549227" y="1484858"/>
                </a:lnTo>
                <a:lnTo>
                  <a:pt x="1578876" y="1450299"/>
                </a:lnTo>
                <a:lnTo>
                  <a:pt x="1606753" y="1414239"/>
                </a:lnTo>
                <a:lnTo>
                  <a:pt x="1632789" y="1376747"/>
                </a:lnTo>
                <a:lnTo>
                  <a:pt x="1656917" y="1337890"/>
                </a:lnTo>
                <a:lnTo>
                  <a:pt x="1679068" y="1297736"/>
                </a:lnTo>
                <a:lnTo>
                  <a:pt x="1691878" y="1271371"/>
                </a:lnTo>
                <a:lnTo>
                  <a:pt x="648373" y="1271371"/>
                </a:lnTo>
                <a:lnTo>
                  <a:pt x="506691" y="1129944"/>
                </a:lnTo>
                <a:lnTo>
                  <a:pt x="645804" y="1001993"/>
                </a:lnTo>
                <a:lnTo>
                  <a:pt x="717240" y="934297"/>
                </a:lnTo>
                <a:lnTo>
                  <a:pt x="743559" y="904316"/>
                </a:lnTo>
                <a:lnTo>
                  <a:pt x="747318" y="889508"/>
                </a:lnTo>
                <a:lnTo>
                  <a:pt x="709720" y="843457"/>
                </a:lnTo>
                <a:lnTo>
                  <a:pt x="627005" y="761612"/>
                </a:lnTo>
                <a:lnTo>
                  <a:pt x="544289" y="683510"/>
                </a:lnTo>
                <a:lnTo>
                  <a:pt x="506691" y="648690"/>
                </a:lnTo>
                <a:lnTo>
                  <a:pt x="648373" y="506945"/>
                </a:lnTo>
                <a:lnTo>
                  <a:pt x="1691880" y="506945"/>
                </a:lnTo>
                <a:lnTo>
                  <a:pt x="1679068" y="480574"/>
                </a:lnTo>
                <a:lnTo>
                  <a:pt x="1656917" y="440417"/>
                </a:lnTo>
                <a:lnTo>
                  <a:pt x="1632789" y="401557"/>
                </a:lnTo>
                <a:lnTo>
                  <a:pt x="1606753" y="364063"/>
                </a:lnTo>
                <a:lnTo>
                  <a:pt x="1578876" y="328003"/>
                </a:lnTo>
                <a:lnTo>
                  <a:pt x="1549227" y="293443"/>
                </a:lnTo>
                <a:lnTo>
                  <a:pt x="1517872" y="260453"/>
                </a:lnTo>
                <a:lnTo>
                  <a:pt x="1484879" y="229099"/>
                </a:lnTo>
                <a:lnTo>
                  <a:pt x="1450317" y="199450"/>
                </a:lnTo>
                <a:lnTo>
                  <a:pt x="1414253" y="171573"/>
                </a:lnTo>
                <a:lnTo>
                  <a:pt x="1376755" y="145537"/>
                </a:lnTo>
                <a:lnTo>
                  <a:pt x="1337890" y="121409"/>
                </a:lnTo>
                <a:lnTo>
                  <a:pt x="1297727" y="99257"/>
                </a:lnTo>
                <a:lnTo>
                  <a:pt x="1256333" y="79149"/>
                </a:lnTo>
                <a:lnTo>
                  <a:pt x="1213776" y="61152"/>
                </a:lnTo>
                <a:lnTo>
                  <a:pt x="1170123" y="45335"/>
                </a:lnTo>
                <a:lnTo>
                  <a:pt x="1125443" y="31765"/>
                </a:lnTo>
                <a:lnTo>
                  <a:pt x="1079803" y="20510"/>
                </a:lnTo>
                <a:lnTo>
                  <a:pt x="1033271" y="11639"/>
                </a:lnTo>
                <a:lnTo>
                  <a:pt x="985914" y="5218"/>
                </a:lnTo>
                <a:lnTo>
                  <a:pt x="937801" y="1315"/>
                </a:lnTo>
                <a:lnTo>
                  <a:pt x="889000" y="0"/>
                </a:lnTo>
                <a:close/>
              </a:path>
              <a:path w="1778635" h="1778635">
                <a:moveTo>
                  <a:pt x="888936" y="1030998"/>
                </a:moveTo>
                <a:lnTo>
                  <a:pt x="844404" y="1068556"/>
                </a:lnTo>
                <a:lnTo>
                  <a:pt x="762482" y="1151185"/>
                </a:lnTo>
                <a:lnTo>
                  <a:pt x="683646" y="1233813"/>
                </a:lnTo>
                <a:lnTo>
                  <a:pt x="648373" y="1271371"/>
                </a:lnTo>
                <a:lnTo>
                  <a:pt x="1129703" y="1271371"/>
                </a:lnTo>
                <a:lnTo>
                  <a:pt x="999918" y="1132406"/>
                </a:lnTo>
                <a:lnTo>
                  <a:pt x="931576" y="1061045"/>
                </a:lnTo>
                <a:lnTo>
                  <a:pt x="902106" y="1034754"/>
                </a:lnTo>
                <a:lnTo>
                  <a:pt x="888936" y="1030998"/>
                </a:lnTo>
                <a:close/>
              </a:path>
              <a:path w="1778635" h="1778635">
                <a:moveTo>
                  <a:pt x="1691880" y="506945"/>
                </a:moveTo>
                <a:lnTo>
                  <a:pt x="1129703" y="506945"/>
                </a:lnTo>
                <a:lnTo>
                  <a:pt x="1271308" y="648690"/>
                </a:lnTo>
                <a:lnTo>
                  <a:pt x="1132158" y="778469"/>
                </a:lnTo>
                <a:lnTo>
                  <a:pt x="1060704" y="846813"/>
                </a:lnTo>
                <a:lnTo>
                  <a:pt x="1034378" y="876301"/>
                </a:lnTo>
                <a:lnTo>
                  <a:pt x="1030617" y="889508"/>
                </a:lnTo>
                <a:lnTo>
                  <a:pt x="1068225" y="933810"/>
                </a:lnTo>
                <a:lnTo>
                  <a:pt x="1150962" y="1015712"/>
                </a:lnTo>
                <a:lnTo>
                  <a:pt x="1233700" y="1094621"/>
                </a:lnTo>
                <a:lnTo>
                  <a:pt x="1271308" y="1129944"/>
                </a:lnTo>
                <a:lnTo>
                  <a:pt x="1129703" y="1271371"/>
                </a:lnTo>
                <a:lnTo>
                  <a:pt x="1691878" y="1271371"/>
                </a:lnTo>
                <a:lnTo>
                  <a:pt x="1699175" y="1256354"/>
                </a:lnTo>
                <a:lnTo>
                  <a:pt x="1717171" y="1213809"/>
                </a:lnTo>
                <a:lnTo>
                  <a:pt x="1732987" y="1170172"/>
                </a:lnTo>
                <a:lnTo>
                  <a:pt x="1746555" y="1125509"/>
                </a:lnTo>
                <a:lnTo>
                  <a:pt x="1757809" y="1079889"/>
                </a:lnTo>
                <a:lnTo>
                  <a:pt x="1766679" y="1033379"/>
                </a:lnTo>
                <a:lnTo>
                  <a:pt x="1773100" y="986047"/>
                </a:lnTo>
                <a:lnTo>
                  <a:pt x="1777001" y="937967"/>
                </a:lnTo>
                <a:lnTo>
                  <a:pt x="1778317" y="889190"/>
                </a:lnTo>
                <a:lnTo>
                  <a:pt x="1777001" y="840406"/>
                </a:lnTo>
                <a:lnTo>
                  <a:pt x="1773100" y="792310"/>
                </a:lnTo>
                <a:lnTo>
                  <a:pt x="1766679" y="744969"/>
                </a:lnTo>
                <a:lnTo>
                  <a:pt x="1757809" y="698450"/>
                </a:lnTo>
                <a:lnTo>
                  <a:pt x="1746555" y="652822"/>
                </a:lnTo>
                <a:lnTo>
                  <a:pt x="1732987" y="608153"/>
                </a:lnTo>
                <a:lnTo>
                  <a:pt x="1717171" y="564510"/>
                </a:lnTo>
                <a:lnTo>
                  <a:pt x="1699175" y="521961"/>
                </a:lnTo>
                <a:lnTo>
                  <a:pt x="1691880" y="506945"/>
                </a:lnTo>
                <a:close/>
              </a:path>
              <a:path w="1778635" h="1778635">
                <a:moveTo>
                  <a:pt x="1129703" y="506945"/>
                </a:moveTo>
                <a:lnTo>
                  <a:pt x="648373" y="506945"/>
                </a:lnTo>
                <a:lnTo>
                  <a:pt x="779219" y="645984"/>
                </a:lnTo>
                <a:lnTo>
                  <a:pt x="847893" y="717383"/>
                </a:lnTo>
                <a:lnTo>
                  <a:pt x="876948" y="743687"/>
                </a:lnTo>
                <a:lnTo>
                  <a:pt x="888936" y="747445"/>
                </a:lnTo>
                <a:lnTo>
                  <a:pt x="932782" y="709867"/>
                </a:lnTo>
                <a:lnTo>
                  <a:pt x="1014853" y="627195"/>
                </a:lnTo>
                <a:lnTo>
                  <a:pt x="1094158" y="544524"/>
                </a:lnTo>
                <a:lnTo>
                  <a:pt x="1129703" y="506945"/>
                </a:lnTo>
                <a:close/>
              </a:path>
            </a:pathLst>
          </a:custGeom>
          <a:solidFill>
            <a:srgbClr val="C24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Прямоугольник 6"/>
          <p:cNvSpPr/>
          <p:nvPr/>
        </p:nvSpPr>
        <p:spPr>
          <a:xfrm>
            <a:off x="4540267" y="2083130"/>
            <a:ext cx="4160108" cy="3090873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САМОМ ДЕЛЕ</a:t>
            </a:r>
            <a:endParaRPr lang="ru-RU" i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800" b="1" i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ГЗ не исключает проведения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хглотковой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бы и питания через рот при ее положительном результате (то есть допустимо кормить пациента через рот и «докармливать через зонд»)</a:t>
            </a:r>
          </a:p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8225" y="5530388"/>
            <a:ext cx="85640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ассоциация по борьбе с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ультом Всероссийское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ство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врологов Ассоциация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хирургов России</a:t>
            </a: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О Объединение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анестези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реаниматологов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российская общественная организация содействия развитию медицинской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ии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Союз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оссии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стика и лечение дисфагии при заболеваниях центральной нервной системы. Клинические рекомендации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78286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>
          <a:xfrm>
            <a:off x="5244807" y="2095574"/>
            <a:ext cx="2536653" cy="437698"/>
          </a:xfrm>
          <a:prstGeom prst="round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088" y="142704"/>
            <a:ext cx="4783609" cy="1325563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ЗАБЛУЖДЕНИЯ </a:t>
            </a:r>
            <a:endParaRPr lang="ru-RU" sz="3200" dirty="0">
              <a:solidFill>
                <a:srgbClr val="00206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25637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5" name="object 3"/>
          <p:cNvSpPr/>
          <p:nvPr/>
        </p:nvSpPr>
        <p:spPr>
          <a:xfrm>
            <a:off x="4704205" y="2095574"/>
            <a:ext cx="453496" cy="449937"/>
          </a:xfrm>
          <a:custGeom>
            <a:avLst/>
            <a:gdLst/>
            <a:ahLst/>
            <a:cxnLst/>
            <a:rect l="l" t="t" r="r" b="b"/>
            <a:pathLst>
              <a:path w="1765300" h="1765300">
                <a:moveTo>
                  <a:pt x="882653" y="0"/>
                </a:moveTo>
                <a:lnTo>
                  <a:pt x="837496" y="1149"/>
                </a:lnTo>
                <a:lnTo>
                  <a:pt x="792434" y="4596"/>
                </a:lnTo>
                <a:lnTo>
                  <a:pt x="747563" y="10342"/>
                </a:lnTo>
                <a:lnTo>
                  <a:pt x="702977" y="18386"/>
                </a:lnTo>
                <a:lnTo>
                  <a:pt x="658771" y="28728"/>
                </a:lnTo>
                <a:lnTo>
                  <a:pt x="615040" y="41368"/>
                </a:lnTo>
                <a:lnTo>
                  <a:pt x="571881" y="56307"/>
                </a:lnTo>
                <a:lnTo>
                  <a:pt x="529387" y="73544"/>
                </a:lnTo>
                <a:lnTo>
                  <a:pt x="487653" y="93080"/>
                </a:lnTo>
                <a:lnTo>
                  <a:pt x="446776" y="114913"/>
                </a:lnTo>
                <a:lnTo>
                  <a:pt x="406850" y="139045"/>
                </a:lnTo>
                <a:lnTo>
                  <a:pt x="367969" y="165475"/>
                </a:lnTo>
                <a:lnTo>
                  <a:pt x="330230" y="194204"/>
                </a:lnTo>
                <a:lnTo>
                  <a:pt x="293727" y="225231"/>
                </a:lnTo>
                <a:lnTo>
                  <a:pt x="258556" y="258556"/>
                </a:lnTo>
                <a:lnTo>
                  <a:pt x="225231" y="293727"/>
                </a:lnTo>
                <a:lnTo>
                  <a:pt x="194204" y="330230"/>
                </a:lnTo>
                <a:lnTo>
                  <a:pt x="165475" y="367969"/>
                </a:lnTo>
                <a:lnTo>
                  <a:pt x="139045" y="406850"/>
                </a:lnTo>
                <a:lnTo>
                  <a:pt x="114913" y="446776"/>
                </a:lnTo>
                <a:lnTo>
                  <a:pt x="93080" y="487653"/>
                </a:lnTo>
                <a:lnTo>
                  <a:pt x="73544" y="529387"/>
                </a:lnTo>
                <a:lnTo>
                  <a:pt x="56307" y="571881"/>
                </a:lnTo>
                <a:lnTo>
                  <a:pt x="41368" y="615040"/>
                </a:lnTo>
                <a:lnTo>
                  <a:pt x="28728" y="658771"/>
                </a:lnTo>
                <a:lnTo>
                  <a:pt x="18386" y="702977"/>
                </a:lnTo>
                <a:lnTo>
                  <a:pt x="10318" y="747747"/>
                </a:lnTo>
                <a:lnTo>
                  <a:pt x="4596" y="792434"/>
                </a:lnTo>
                <a:lnTo>
                  <a:pt x="1149" y="837496"/>
                </a:lnTo>
                <a:lnTo>
                  <a:pt x="0" y="882653"/>
                </a:lnTo>
                <a:lnTo>
                  <a:pt x="1149" y="927809"/>
                </a:lnTo>
                <a:lnTo>
                  <a:pt x="4596" y="972871"/>
                </a:lnTo>
                <a:lnTo>
                  <a:pt x="10342" y="1017743"/>
                </a:lnTo>
                <a:lnTo>
                  <a:pt x="18386" y="1062329"/>
                </a:lnTo>
                <a:lnTo>
                  <a:pt x="28728" y="1106535"/>
                </a:lnTo>
                <a:lnTo>
                  <a:pt x="41368" y="1150265"/>
                </a:lnTo>
                <a:lnTo>
                  <a:pt x="56307" y="1193425"/>
                </a:lnTo>
                <a:lnTo>
                  <a:pt x="73544" y="1235919"/>
                </a:lnTo>
                <a:lnTo>
                  <a:pt x="93080" y="1277652"/>
                </a:lnTo>
                <a:lnTo>
                  <a:pt x="114913" y="1318529"/>
                </a:lnTo>
                <a:lnTo>
                  <a:pt x="139045" y="1358456"/>
                </a:lnTo>
                <a:lnTo>
                  <a:pt x="165475" y="1397336"/>
                </a:lnTo>
                <a:lnTo>
                  <a:pt x="194204" y="1435075"/>
                </a:lnTo>
                <a:lnTo>
                  <a:pt x="225231" y="1471578"/>
                </a:lnTo>
                <a:lnTo>
                  <a:pt x="258556" y="1506750"/>
                </a:lnTo>
                <a:lnTo>
                  <a:pt x="293728" y="1540074"/>
                </a:lnTo>
                <a:lnTo>
                  <a:pt x="330234" y="1571099"/>
                </a:lnTo>
                <a:lnTo>
                  <a:pt x="367979" y="1599827"/>
                </a:lnTo>
                <a:lnTo>
                  <a:pt x="406866" y="1626256"/>
                </a:lnTo>
                <a:lnTo>
                  <a:pt x="446801" y="1650387"/>
                </a:lnTo>
                <a:lnTo>
                  <a:pt x="487688" y="1672220"/>
                </a:lnTo>
                <a:lnTo>
                  <a:pt x="529431" y="1691754"/>
                </a:lnTo>
                <a:lnTo>
                  <a:pt x="571936" y="1708991"/>
                </a:lnTo>
                <a:lnTo>
                  <a:pt x="615108" y="1723929"/>
                </a:lnTo>
                <a:lnTo>
                  <a:pt x="658850" y="1736569"/>
                </a:lnTo>
                <a:lnTo>
                  <a:pt x="703067" y="1746911"/>
                </a:lnTo>
                <a:lnTo>
                  <a:pt x="747665" y="1754954"/>
                </a:lnTo>
                <a:lnTo>
                  <a:pt x="792548" y="1760700"/>
                </a:lnTo>
                <a:lnTo>
                  <a:pt x="837620" y="1764147"/>
                </a:lnTo>
                <a:lnTo>
                  <a:pt x="882786" y="1765296"/>
                </a:lnTo>
                <a:lnTo>
                  <a:pt x="927951" y="1764147"/>
                </a:lnTo>
                <a:lnTo>
                  <a:pt x="973020" y="1760700"/>
                </a:lnTo>
                <a:lnTo>
                  <a:pt x="1017896" y="1754954"/>
                </a:lnTo>
                <a:lnTo>
                  <a:pt x="1062486" y="1746911"/>
                </a:lnTo>
                <a:lnTo>
                  <a:pt x="1106693" y="1736569"/>
                </a:lnTo>
                <a:lnTo>
                  <a:pt x="1150422" y="1723929"/>
                </a:lnTo>
                <a:lnTo>
                  <a:pt x="1193578" y="1708991"/>
                </a:lnTo>
                <a:lnTo>
                  <a:pt x="1236065" y="1691754"/>
                </a:lnTo>
                <a:lnTo>
                  <a:pt x="1277789" y="1672220"/>
                </a:lnTo>
                <a:lnTo>
                  <a:pt x="1318653" y="1650387"/>
                </a:lnTo>
                <a:lnTo>
                  <a:pt x="1358563" y="1626256"/>
                </a:lnTo>
                <a:lnTo>
                  <a:pt x="1397423" y="1599827"/>
                </a:lnTo>
                <a:lnTo>
                  <a:pt x="1435137" y="1571099"/>
                </a:lnTo>
                <a:lnTo>
                  <a:pt x="1471611" y="1540074"/>
                </a:lnTo>
                <a:lnTo>
                  <a:pt x="1506750" y="1506750"/>
                </a:lnTo>
                <a:lnTo>
                  <a:pt x="1540075" y="1471578"/>
                </a:lnTo>
                <a:lnTo>
                  <a:pt x="1571101" y="1435075"/>
                </a:lnTo>
                <a:lnTo>
                  <a:pt x="1599830" y="1397336"/>
                </a:lnTo>
                <a:lnTo>
                  <a:pt x="1626260" y="1358456"/>
                </a:lnTo>
                <a:lnTo>
                  <a:pt x="1650392" y="1318529"/>
                </a:lnTo>
                <a:lnTo>
                  <a:pt x="1672226" y="1277652"/>
                </a:lnTo>
                <a:lnTo>
                  <a:pt x="1683359" y="1253867"/>
                </a:lnTo>
                <a:lnTo>
                  <a:pt x="764676" y="1253867"/>
                </a:lnTo>
                <a:lnTo>
                  <a:pt x="412378" y="901557"/>
                </a:lnTo>
                <a:lnTo>
                  <a:pt x="566188" y="747747"/>
                </a:lnTo>
                <a:lnTo>
                  <a:pt x="963327" y="747747"/>
                </a:lnTo>
                <a:lnTo>
                  <a:pt x="1199473" y="511794"/>
                </a:lnTo>
                <a:lnTo>
                  <a:pt x="1683526" y="511794"/>
                </a:lnTo>
                <a:lnTo>
                  <a:pt x="1672226" y="487653"/>
                </a:lnTo>
                <a:lnTo>
                  <a:pt x="1650392" y="446776"/>
                </a:lnTo>
                <a:lnTo>
                  <a:pt x="1626260" y="406850"/>
                </a:lnTo>
                <a:lnTo>
                  <a:pt x="1599830" y="367969"/>
                </a:lnTo>
                <a:lnTo>
                  <a:pt x="1571101" y="330230"/>
                </a:lnTo>
                <a:lnTo>
                  <a:pt x="1540075" y="293727"/>
                </a:lnTo>
                <a:lnTo>
                  <a:pt x="1506750" y="258556"/>
                </a:lnTo>
                <a:lnTo>
                  <a:pt x="1471578" y="225231"/>
                </a:lnTo>
                <a:lnTo>
                  <a:pt x="1435075" y="194204"/>
                </a:lnTo>
                <a:lnTo>
                  <a:pt x="1397336" y="165475"/>
                </a:lnTo>
                <a:lnTo>
                  <a:pt x="1358456" y="139045"/>
                </a:lnTo>
                <a:lnTo>
                  <a:pt x="1318529" y="114913"/>
                </a:lnTo>
                <a:lnTo>
                  <a:pt x="1277652" y="93080"/>
                </a:lnTo>
                <a:lnTo>
                  <a:pt x="1235919" y="73544"/>
                </a:lnTo>
                <a:lnTo>
                  <a:pt x="1193425" y="56307"/>
                </a:lnTo>
                <a:lnTo>
                  <a:pt x="1150265" y="41368"/>
                </a:lnTo>
                <a:lnTo>
                  <a:pt x="1106535" y="28728"/>
                </a:lnTo>
                <a:lnTo>
                  <a:pt x="1062329" y="18386"/>
                </a:lnTo>
                <a:lnTo>
                  <a:pt x="1017743" y="10342"/>
                </a:lnTo>
                <a:lnTo>
                  <a:pt x="972871" y="4596"/>
                </a:lnTo>
                <a:lnTo>
                  <a:pt x="927809" y="1149"/>
                </a:lnTo>
                <a:lnTo>
                  <a:pt x="882653" y="0"/>
                </a:lnTo>
                <a:close/>
              </a:path>
              <a:path w="1765300" h="1765300">
                <a:moveTo>
                  <a:pt x="1683526" y="511794"/>
                </a:moveTo>
                <a:lnTo>
                  <a:pt x="1199473" y="511794"/>
                </a:lnTo>
                <a:lnTo>
                  <a:pt x="1353296" y="665616"/>
                </a:lnTo>
                <a:lnTo>
                  <a:pt x="764676" y="1253867"/>
                </a:lnTo>
                <a:lnTo>
                  <a:pt x="1683359" y="1253867"/>
                </a:lnTo>
                <a:lnTo>
                  <a:pt x="1691761" y="1235919"/>
                </a:lnTo>
                <a:lnTo>
                  <a:pt x="1708998" y="1193425"/>
                </a:lnTo>
                <a:lnTo>
                  <a:pt x="1723937" y="1150265"/>
                </a:lnTo>
                <a:lnTo>
                  <a:pt x="1736577" y="1106535"/>
                </a:lnTo>
                <a:lnTo>
                  <a:pt x="1746920" y="1062329"/>
                </a:lnTo>
                <a:lnTo>
                  <a:pt x="1754964" y="1017743"/>
                </a:lnTo>
                <a:lnTo>
                  <a:pt x="1760709" y="972871"/>
                </a:lnTo>
                <a:lnTo>
                  <a:pt x="1764157" y="927809"/>
                </a:lnTo>
                <a:lnTo>
                  <a:pt x="1765306" y="882653"/>
                </a:lnTo>
                <a:lnTo>
                  <a:pt x="1764157" y="837496"/>
                </a:lnTo>
                <a:lnTo>
                  <a:pt x="1760709" y="792434"/>
                </a:lnTo>
                <a:lnTo>
                  <a:pt x="1754964" y="747563"/>
                </a:lnTo>
                <a:lnTo>
                  <a:pt x="1746920" y="702977"/>
                </a:lnTo>
                <a:lnTo>
                  <a:pt x="1736577" y="658771"/>
                </a:lnTo>
                <a:lnTo>
                  <a:pt x="1723937" y="615040"/>
                </a:lnTo>
                <a:lnTo>
                  <a:pt x="1708998" y="571881"/>
                </a:lnTo>
                <a:lnTo>
                  <a:pt x="1691761" y="529387"/>
                </a:lnTo>
                <a:lnTo>
                  <a:pt x="1683526" y="511794"/>
                </a:lnTo>
                <a:close/>
              </a:path>
              <a:path w="1765300" h="1765300">
                <a:moveTo>
                  <a:pt x="963327" y="747747"/>
                </a:moveTo>
                <a:lnTo>
                  <a:pt x="566188" y="747747"/>
                </a:lnTo>
                <a:lnTo>
                  <a:pt x="764676" y="946235"/>
                </a:lnTo>
                <a:lnTo>
                  <a:pt x="963327" y="747747"/>
                </a:lnTo>
                <a:close/>
              </a:path>
            </a:pathLst>
          </a:custGeom>
          <a:solidFill>
            <a:srgbClr val="02A29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Прямоугольник 6"/>
          <p:cNvSpPr/>
          <p:nvPr/>
        </p:nvSpPr>
        <p:spPr>
          <a:xfrm>
            <a:off x="4624754" y="1811039"/>
            <a:ext cx="3776760" cy="3103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</a:t>
            </a:r>
          </a:p>
          <a:p>
            <a:r>
              <a:rPr lang="ru-RU" sz="2000" b="1" i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НА САМОМ ДЕЛЕ</a:t>
            </a:r>
            <a:endParaRPr lang="ru-RU" i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28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омы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не исключает питания через рот при положительной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хглотковой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робе (то есть допустимо кормление пациента через рот и через </a:t>
            </a:r>
            <a:r>
              <a:rPr lang="ru-RU" dirty="0" err="1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ому</a:t>
            </a:r>
            <a:r>
              <a:rPr lang="ru-RU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58225" y="5530388"/>
            <a:ext cx="85640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ая ассоциация по борьбе с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сультом Всероссийское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ство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врологов Ассоциация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хирургов России</a:t>
            </a: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О Объединение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анестези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йрореаниматологов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ероссийская общественная организация содействия развитию медицинской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ии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Союз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билитологов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оссии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агностика и лечение дисфагии при заболеваниях центральной нервной системы. Клинические рекомендации</a:t>
            </a:r>
          </a:p>
          <a:p>
            <a:endParaRPr lang="ru-RU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908204" y="2083130"/>
            <a:ext cx="2536653" cy="437698"/>
          </a:xfrm>
          <a:prstGeom prst="roundRect">
            <a:avLst/>
          </a:prstGeom>
          <a:solidFill>
            <a:srgbClr val="C24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object 4"/>
          <p:cNvSpPr/>
          <p:nvPr/>
        </p:nvSpPr>
        <p:spPr>
          <a:xfrm>
            <a:off x="404160" y="2072179"/>
            <a:ext cx="422613" cy="448649"/>
          </a:xfrm>
          <a:custGeom>
            <a:avLst/>
            <a:gdLst/>
            <a:ahLst/>
            <a:cxnLst/>
            <a:rect l="l" t="t" r="r" b="b"/>
            <a:pathLst>
              <a:path w="1778635" h="1778635">
                <a:moveTo>
                  <a:pt x="889000" y="0"/>
                </a:moveTo>
                <a:lnTo>
                  <a:pt x="840222" y="1315"/>
                </a:lnTo>
                <a:lnTo>
                  <a:pt x="792133" y="5218"/>
                </a:lnTo>
                <a:lnTo>
                  <a:pt x="744799" y="11639"/>
                </a:lnTo>
                <a:lnTo>
                  <a:pt x="698288" y="20510"/>
                </a:lnTo>
                <a:lnTo>
                  <a:pt x="652668" y="31765"/>
                </a:lnTo>
                <a:lnTo>
                  <a:pt x="608006" y="45335"/>
                </a:lnTo>
                <a:lnTo>
                  <a:pt x="564372" y="61152"/>
                </a:lnTo>
                <a:lnTo>
                  <a:pt x="521831" y="79149"/>
                </a:lnTo>
                <a:lnTo>
                  <a:pt x="480452" y="99257"/>
                </a:lnTo>
                <a:lnTo>
                  <a:pt x="440304" y="121409"/>
                </a:lnTo>
                <a:lnTo>
                  <a:pt x="401453" y="145537"/>
                </a:lnTo>
                <a:lnTo>
                  <a:pt x="363967" y="171573"/>
                </a:lnTo>
                <a:lnTo>
                  <a:pt x="327915" y="199450"/>
                </a:lnTo>
                <a:lnTo>
                  <a:pt x="293364" y="229099"/>
                </a:lnTo>
                <a:lnTo>
                  <a:pt x="260381" y="260453"/>
                </a:lnTo>
                <a:lnTo>
                  <a:pt x="229035" y="293443"/>
                </a:lnTo>
                <a:lnTo>
                  <a:pt x="199394" y="328003"/>
                </a:lnTo>
                <a:lnTo>
                  <a:pt x="171525" y="364063"/>
                </a:lnTo>
                <a:lnTo>
                  <a:pt x="145495" y="401557"/>
                </a:lnTo>
                <a:lnTo>
                  <a:pt x="121374" y="440417"/>
                </a:lnTo>
                <a:lnTo>
                  <a:pt x="99228" y="480574"/>
                </a:lnTo>
                <a:lnTo>
                  <a:pt x="79125" y="521961"/>
                </a:lnTo>
                <a:lnTo>
                  <a:pt x="61134" y="564510"/>
                </a:lnTo>
                <a:lnTo>
                  <a:pt x="45321" y="608153"/>
                </a:lnTo>
                <a:lnTo>
                  <a:pt x="31755" y="652822"/>
                </a:lnTo>
                <a:lnTo>
                  <a:pt x="20504" y="698450"/>
                </a:lnTo>
                <a:lnTo>
                  <a:pt x="11635" y="744969"/>
                </a:lnTo>
                <a:lnTo>
                  <a:pt x="5216" y="792310"/>
                </a:lnTo>
                <a:lnTo>
                  <a:pt x="1315" y="840406"/>
                </a:lnTo>
                <a:lnTo>
                  <a:pt x="0" y="889190"/>
                </a:lnTo>
                <a:lnTo>
                  <a:pt x="1315" y="937967"/>
                </a:lnTo>
                <a:lnTo>
                  <a:pt x="5216" y="986058"/>
                </a:lnTo>
                <a:lnTo>
                  <a:pt x="11635" y="1033394"/>
                </a:lnTo>
                <a:lnTo>
                  <a:pt x="20504" y="1079908"/>
                </a:lnTo>
                <a:lnTo>
                  <a:pt x="31755" y="1125531"/>
                </a:lnTo>
                <a:lnTo>
                  <a:pt x="45321" y="1170196"/>
                </a:lnTo>
                <a:lnTo>
                  <a:pt x="61134" y="1213835"/>
                </a:lnTo>
                <a:lnTo>
                  <a:pt x="79125" y="1256381"/>
                </a:lnTo>
                <a:lnTo>
                  <a:pt x="99228" y="1297764"/>
                </a:lnTo>
                <a:lnTo>
                  <a:pt x="121374" y="1337919"/>
                </a:lnTo>
                <a:lnTo>
                  <a:pt x="145495" y="1376775"/>
                </a:lnTo>
                <a:lnTo>
                  <a:pt x="171525" y="1414267"/>
                </a:lnTo>
                <a:lnTo>
                  <a:pt x="199394" y="1450325"/>
                </a:lnTo>
                <a:lnTo>
                  <a:pt x="229035" y="1484883"/>
                </a:lnTo>
                <a:lnTo>
                  <a:pt x="260381" y="1517872"/>
                </a:lnTo>
                <a:lnTo>
                  <a:pt x="293364" y="1549224"/>
                </a:lnTo>
                <a:lnTo>
                  <a:pt x="327915" y="1578872"/>
                </a:lnTo>
                <a:lnTo>
                  <a:pt x="363967" y="1606747"/>
                </a:lnTo>
                <a:lnTo>
                  <a:pt x="401453" y="1632782"/>
                </a:lnTo>
                <a:lnTo>
                  <a:pt x="440304" y="1656910"/>
                </a:lnTo>
                <a:lnTo>
                  <a:pt x="480452" y="1679061"/>
                </a:lnTo>
                <a:lnTo>
                  <a:pt x="521831" y="1699169"/>
                </a:lnTo>
                <a:lnTo>
                  <a:pt x="564372" y="1717165"/>
                </a:lnTo>
                <a:lnTo>
                  <a:pt x="608006" y="1732982"/>
                </a:lnTo>
                <a:lnTo>
                  <a:pt x="652668" y="1746552"/>
                </a:lnTo>
                <a:lnTo>
                  <a:pt x="698288" y="1757806"/>
                </a:lnTo>
                <a:lnTo>
                  <a:pt x="744799" y="1766678"/>
                </a:lnTo>
                <a:lnTo>
                  <a:pt x="792133" y="1773099"/>
                </a:lnTo>
                <a:lnTo>
                  <a:pt x="840222" y="1777001"/>
                </a:lnTo>
                <a:lnTo>
                  <a:pt x="889000" y="1778317"/>
                </a:lnTo>
                <a:lnTo>
                  <a:pt x="937801" y="1777001"/>
                </a:lnTo>
                <a:lnTo>
                  <a:pt x="985914" y="1773098"/>
                </a:lnTo>
                <a:lnTo>
                  <a:pt x="1033271" y="1766676"/>
                </a:lnTo>
                <a:lnTo>
                  <a:pt x="1079803" y="1757803"/>
                </a:lnTo>
                <a:lnTo>
                  <a:pt x="1125443" y="1746547"/>
                </a:lnTo>
                <a:lnTo>
                  <a:pt x="1170123" y="1732976"/>
                </a:lnTo>
                <a:lnTo>
                  <a:pt x="1213776" y="1717157"/>
                </a:lnTo>
                <a:lnTo>
                  <a:pt x="1256333" y="1699159"/>
                </a:lnTo>
                <a:lnTo>
                  <a:pt x="1297727" y="1679049"/>
                </a:lnTo>
                <a:lnTo>
                  <a:pt x="1337890" y="1656896"/>
                </a:lnTo>
                <a:lnTo>
                  <a:pt x="1376755" y="1632766"/>
                </a:lnTo>
                <a:lnTo>
                  <a:pt x="1414253" y="1606729"/>
                </a:lnTo>
                <a:lnTo>
                  <a:pt x="1450317" y="1578851"/>
                </a:lnTo>
                <a:lnTo>
                  <a:pt x="1484879" y="1549202"/>
                </a:lnTo>
                <a:lnTo>
                  <a:pt x="1517872" y="1517848"/>
                </a:lnTo>
                <a:lnTo>
                  <a:pt x="1549227" y="1484858"/>
                </a:lnTo>
                <a:lnTo>
                  <a:pt x="1578876" y="1450299"/>
                </a:lnTo>
                <a:lnTo>
                  <a:pt x="1606753" y="1414239"/>
                </a:lnTo>
                <a:lnTo>
                  <a:pt x="1632789" y="1376747"/>
                </a:lnTo>
                <a:lnTo>
                  <a:pt x="1656917" y="1337890"/>
                </a:lnTo>
                <a:lnTo>
                  <a:pt x="1679068" y="1297736"/>
                </a:lnTo>
                <a:lnTo>
                  <a:pt x="1691878" y="1271371"/>
                </a:lnTo>
                <a:lnTo>
                  <a:pt x="648373" y="1271371"/>
                </a:lnTo>
                <a:lnTo>
                  <a:pt x="506691" y="1129944"/>
                </a:lnTo>
                <a:lnTo>
                  <a:pt x="645804" y="1001993"/>
                </a:lnTo>
                <a:lnTo>
                  <a:pt x="717240" y="934297"/>
                </a:lnTo>
                <a:lnTo>
                  <a:pt x="743559" y="904316"/>
                </a:lnTo>
                <a:lnTo>
                  <a:pt x="747318" y="889508"/>
                </a:lnTo>
                <a:lnTo>
                  <a:pt x="709720" y="843457"/>
                </a:lnTo>
                <a:lnTo>
                  <a:pt x="627005" y="761612"/>
                </a:lnTo>
                <a:lnTo>
                  <a:pt x="544289" y="683510"/>
                </a:lnTo>
                <a:lnTo>
                  <a:pt x="506691" y="648690"/>
                </a:lnTo>
                <a:lnTo>
                  <a:pt x="648373" y="506945"/>
                </a:lnTo>
                <a:lnTo>
                  <a:pt x="1691880" y="506945"/>
                </a:lnTo>
                <a:lnTo>
                  <a:pt x="1679068" y="480574"/>
                </a:lnTo>
                <a:lnTo>
                  <a:pt x="1656917" y="440417"/>
                </a:lnTo>
                <a:lnTo>
                  <a:pt x="1632789" y="401557"/>
                </a:lnTo>
                <a:lnTo>
                  <a:pt x="1606753" y="364063"/>
                </a:lnTo>
                <a:lnTo>
                  <a:pt x="1578876" y="328003"/>
                </a:lnTo>
                <a:lnTo>
                  <a:pt x="1549227" y="293443"/>
                </a:lnTo>
                <a:lnTo>
                  <a:pt x="1517872" y="260453"/>
                </a:lnTo>
                <a:lnTo>
                  <a:pt x="1484879" y="229099"/>
                </a:lnTo>
                <a:lnTo>
                  <a:pt x="1450317" y="199450"/>
                </a:lnTo>
                <a:lnTo>
                  <a:pt x="1414253" y="171573"/>
                </a:lnTo>
                <a:lnTo>
                  <a:pt x="1376755" y="145537"/>
                </a:lnTo>
                <a:lnTo>
                  <a:pt x="1337890" y="121409"/>
                </a:lnTo>
                <a:lnTo>
                  <a:pt x="1297727" y="99257"/>
                </a:lnTo>
                <a:lnTo>
                  <a:pt x="1256333" y="79149"/>
                </a:lnTo>
                <a:lnTo>
                  <a:pt x="1213776" y="61152"/>
                </a:lnTo>
                <a:lnTo>
                  <a:pt x="1170123" y="45335"/>
                </a:lnTo>
                <a:lnTo>
                  <a:pt x="1125443" y="31765"/>
                </a:lnTo>
                <a:lnTo>
                  <a:pt x="1079803" y="20510"/>
                </a:lnTo>
                <a:lnTo>
                  <a:pt x="1033271" y="11639"/>
                </a:lnTo>
                <a:lnTo>
                  <a:pt x="985914" y="5218"/>
                </a:lnTo>
                <a:lnTo>
                  <a:pt x="937801" y="1315"/>
                </a:lnTo>
                <a:lnTo>
                  <a:pt x="889000" y="0"/>
                </a:lnTo>
                <a:close/>
              </a:path>
              <a:path w="1778635" h="1778635">
                <a:moveTo>
                  <a:pt x="888936" y="1030998"/>
                </a:moveTo>
                <a:lnTo>
                  <a:pt x="844404" y="1068556"/>
                </a:lnTo>
                <a:lnTo>
                  <a:pt x="762482" y="1151185"/>
                </a:lnTo>
                <a:lnTo>
                  <a:pt x="683646" y="1233813"/>
                </a:lnTo>
                <a:lnTo>
                  <a:pt x="648373" y="1271371"/>
                </a:lnTo>
                <a:lnTo>
                  <a:pt x="1129703" y="1271371"/>
                </a:lnTo>
                <a:lnTo>
                  <a:pt x="999918" y="1132406"/>
                </a:lnTo>
                <a:lnTo>
                  <a:pt x="931576" y="1061045"/>
                </a:lnTo>
                <a:lnTo>
                  <a:pt x="902106" y="1034754"/>
                </a:lnTo>
                <a:lnTo>
                  <a:pt x="888936" y="1030998"/>
                </a:lnTo>
                <a:close/>
              </a:path>
              <a:path w="1778635" h="1778635">
                <a:moveTo>
                  <a:pt x="1691880" y="506945"/>
                </a:moveTo>
                <a:lnTo>
                  <a:pt x="1129703" y="506945"/>
                </a:lnTo>
                <a:lnTo>
                  <a:pt x="1271308" y="648690"/>
                </a:lnTo>
                <a:lnTo>
                  <a:pt x="1132158" y="778469"/>
                </a:lnTo>
                <a:lnTo>
                  <a:pt x="1060704" y="846813"/>
                </a:lnTo>
                <a:lnTo>
                  <a:pt x="1034378" y="876301"/>
                </a:lnTo>
                <a:lnTo>
                  <a:pt x="1030617" y="889508"/>
                </a:lnTo>
                <a:lnTo>
                  <a:pt x="1068225" y="933810"/>
                </a:lnTo>
                <a:lnTo>
                  <a:pt x="1150962" y="1015712"/>
                </a:lnTo>
                <a:lnTo>
                  <a:pt x="1233700" y="1094621"/>
                </a:lnTo>
                <a:lnTo>
                  <a:pt x="1271308" y="1129944"/>
                </a:lnTo>
                <a:lnTo>
                  <a:pt x="1129703" y="1271371"/>
                </a:lnTo>
                <a:lnTo>
                  <a:pt x="1691878" y="1271371"/>
                </a:lnTo>
                <a:lnTo>
                  <a:pt x="1699175" y="1256354"/>
                </a:lnTo>
                <a:lnTo>
                  <a:pt x="1717171" y="1213809"/>
                </a:lnTo>
                <a:lnTo>
                  <a:pt x="1732987" y="1170172"/>
                </a:lnTo>
                <a:lnTo>
                  <a:pt x="1746555" y="1125509"/>
                </a:lnTo>
                <a:lnTo>
                  <a:pt x="1757809" y="1079889"/>
                </a:lnTo>
                <a:lnTo>
                  <a:pt x="1766679" y="1033379"/>
                </a:lnTo>
                <a:lnTo>
                  <a:pt x="1773100" y="986047"/>
                </a:lnTo>
                <a:lnTo>
                  <a:pt x="1777001" y="937967"/>
                </a:lnTo>
                <a:lnTo>
                  <a:pt x="1778317" y="889190"/>
                </a:lnTo>
                <a:lnTo>
                  <a:pt x="1777001" y="840406"/>
                </a:lnTo>
                <a:lnTo>
                  <a:pt x="1773100" y="792310"/>
                </a:lnTo>
                <a:lnTo>
                  <a:pt x="1766679" y="744969"/>
                </a:lnTo>
                <a:lnTo>
                  <a:pt x="1757809" y="698450"/>
                </a:lnTo>
                <a:lnTo>
                  <a:pt x="1746555" y="652822"/>
                </a:lnTo>
                <a:lnTo>
                  <a:pt x="1732987" y="608153"/>
                </a:lnTo>
                <a:lnTo>
                  <a:pt x="1717171" y="564510"/>
                </a:lnTo>
                <a:lnTo>
                  <a:pt x="1699175" y="521961"/>
                </a:lnTo>
                <a:lnTo>
                  <a:pt x="1691880" y="506945"/>
                </a:lnTo>
                <a:close/>
              </a:path>
              <a:path w="1778635" h="1778635">
                <a:moveTo>
                  <a:pt x="1129703" y="506945"/>
                </a:moveTo>
                <a:lnTo>
                  <a:pt x="648373" y="506945"/>
                </a:lnTo>
                <a:lnTo>
                  <a:pt x="779219" y="645984"/>
                </a:lnTo>
                <a:lnTo>
                  <a:pt x="847893" y="717383"/>
                </a:lnTo>
                <a:lnTo>
                  <a:pt x="876948" y="743687"/>
                </a:lnTo>
                <a:lnTo>
                  <a:pt x="888936" y="747445"/>
                </a:lnTo>
                <a:lnTo>
                  <a:pt x="932782" y="709867"/>
                </a:lnTo>
                <a:lnTo>
                  <a:pt x="1014853" y="627195"/>
                </a:lnTo>
                <a:lnTo>
                  <a:pt x="1094158" y="544524"/>
                </a:lnTo>
                <a:lnTo>
                  <a:pt x="1129703" y="506945"/>
                </a:lnTo>
                <a:close/>
              </a:path>
            </a:pathLst>
          </a:custGeom>
          <a:solidFill>
            <a:srgbClr val="C2483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Объект 2"/>
          <p:cNvSpPr>
            <a:spLocks noGrp="1"/>
          </p:cNvSpPr>
          <p:nvPr>
            <p:ph idx="1"/>
          </p:nvPr>
        </p:nvSpPr>
        <p:spPr>
          <a:xfrm>
            <a:off x="452547" y="2035721"/>
            <a:ext cx="3951588" cy="24960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ru-RU" sz="2000" b="1" i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БЛУЖДЕНИЕ</a:t>
            </a:r>
          </a:p>
          <a:p>
            <a:pPr marL="0" indent="0">
              <a:buNone/>
            </a:pPr>
            <a:endParaRPr lang="ru-RU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1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е </a:t>
            </a:r>
            <a:r>
              <a:rPr lang="ru-RU" sz="18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стростомы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сключает питание через рот</a:t>
            </a:r>
            <a:endParaRPr lang="ru-RU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2242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028" y="344004"/>
            <a:ext cx="8989739" cy="1010914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ОПРЕДЕЛИТЬ СТЕПЕНЬ ДИСФАГИИ? 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-1710432" y="344004"/>
            <a:ext cx="224742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>
                <a:solidFill>
                  <a:srgbClr val="000000"/>
                </a:solidFill>
                <a:latin typeface="Verdana" panose="020B0604030504040204" pitchFamily="34" charset="0"/>
              </a:rPr>
              <a:t> 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graphicFrame>
        <p:nvGraphicFramePr>
          <p:cNvPr id="8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887946"/>
              </p:ext>
            </p:extLst>
          </p:nvPr>
        </p:nvGraphicFramePr>
        <p:xfrm>
          <a:off x="495655" y="1450601"/>
          <a:ext cx="7845040" cy="1293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00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5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93265"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endParaRPr lang="ru-RU" sz="1600" baseline="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    СТЕПЕНИ</a:t>
                      </a:r>
                    </a:p>
                    <a:p>
                      <a:pPr algn="l"/>
                      <a:endParaRPr lang="ru-RU" sz="1600" dirty="0">
                        <a:solidFill>
                          <a:srgbClr val="2E418D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6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</a:t>
                      </a:r>
                    </a:p>
                    <a:p>
                      <a:pPr algn="l"/>
                      <a:r>
                        <a:rPr lang="ru-RU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ХАРАКТЕРИСТИКА</a:t>
                      </a:r>
                    </a:p>
                  </a:txBody>
                  <a:tcPr marL="68577" marR="68577" marT="34295" marB="34295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/>
        </p:nvCxnSpPr>
        <p:spPr>
          <a:xfrm>
            <a:off x="2660822" y="1450601"/>
            <a:ext cx="0" cy="1293265"/>
          </a:xfrm>
          <a:prstGeom prst="line">
            <a:avLst/>
          </a:prstGeom>
          <a:ln>
            <a:solidFill>
              <a:srgbClr val="FEF1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2660822" y="2743866"/>
            <a:ext cx="0" cy="374755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1961917" y="2916340"/>
            <a:ext cx="51074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</a:t>
            </a:r>
          </a:p>
          <a:p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</a:p>
          <a:p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  <a:p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  <a:p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119014" y="2916340"/>
            <a:ext cx="39821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принимать обычную пищу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119013" y="3285672"/>
            <a:ext cx="55554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возможность принимать отдельные виды твердой пищи, </a:t>
            </a:r>
            <a:r>
              <a:rPr lang="ru-RU" sz="1600" dirty="0">
                <a:solidFill>
                  <a:schemeClr val="dk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твердая пища проглатывается легко</a:t>
            </a:r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119013" y="3978169"/>
            <a:ext cx="571194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потребление только мягкой, полужидкой пищи, при употреблении твердой пищи возникают затрудн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3119013" y="4720786"/>
            <a:ext cx="53741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употреблении даже жидкой пищи возникают затруднения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3119012" y="5463403"/>
            <a:ext cx="54401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признаков движения при попытке произвольного напряжения мышцы-то есть пациент не может проглотить слюну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69718" y="3285672"/>
            <a:ext cx="777097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569718" y="3932003"/>
            <a:ext cx="7770977" cy="46166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69718" y="4624500"/>
            <a:ext cx="777097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569718" y="5367117"/>
            <a:ext cx="7770977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874693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19336" y="0"/>
            <a:ext cx="9024664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b="1" dirty="0">
                <a:solidFill>
                  <a:srgbClr val="FBE5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</a:t>
            </a:r>
            <a:r>
              <a:rPr lang="ru-RU" sz="3200" b="1" dirty="0" smtClean="0">
                <a:solidFill>
                  <a:srgbClr val="FBE5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АКТЫ</a:t>
            </a:r>
            <a:endParaRPr lang="ru-RU" sz="3200" b="1" dirty="0">
              <a:solidFill>
                <a:srgbClr val="FBE5D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4583" y="4203115"/>
            <a:ext cx="54864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BE5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русницына Варвара Николаевна</a:t>
            </a:r>
            <a:endParaRPr lang="en-US" sz="2000" b="1" dirty="0">
              <a:solidFill>
                <a:srgbClr val="FBE5D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en-US" sz="2000" b="1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rvarabrusnicy@mail.ru</a:t>
            </a:r>
            <a:endParaRPr lang="ru-RU" sz="2000" b="1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b="1" dirty="0">
                <a:solidFill>
                  <a:srgbClr val="FBE5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-929-592-23-37</a:t>
            </a:r>
          </a:p>
          <a:p>
            <a:r>
              <a:rPr lang="ru-RU" sz="2000" b="1" dirty="0">
                <a:solidFill>
                  <a:srgbClr val="FBE5D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-499-940-19-50 доб.9300  </a:t>
            </a:r>
          </a:p>
          <a:p>
            <a:endParaRPr lang="ru-RU" sz="2000" b="1" dirty="0">
              <a:solidFill>
                <a:srgbClr val="FBE5D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640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3371" y="356580"/>
            <a:ext cx="7886700" cy="1325563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ЕЩЕ МЫ МОЖЕМ ЗАМЕТИТЬ ПРОБЛЕМЫ С ГЛОТАНИЕМ?</a:t>
            </a:r>
            <a:endParaRPr lang="ru-RU" sz="2800" b="1" dirty="0">
              <a:solidFill>
                <a:srgbClr val="00206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83371" y="2377560"/>
            <a:ext cx="7993364" cy="2688710"/>
          </a:xfrm>
        </p:spPr>
        <p:txBody>
          <a:bodyPr>
            <a:noAutofit/>
          </a:bodyPr>
          <a:lstStyle/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росить пациента или родственника, есть ли у пациента проблемы с 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лотанием</a:t>
            </a:r>
          </a:p>
          <a:p>
            <a:pPr marL="0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дсестры замечают, что «пациент долго держит во рту пищу</a:t>
            </a:r>
            <a:r>
              <a:rPr lang="ru-RU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pPr marL="0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циент поперхивается пищей или жидкостью или кашляет после попытки проглотить </a:t>
            </a:r>
            <a:endParaRPr lang="ru-RU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явление «булькающих» звуков после глотания</a:t>
            </a:r>
          </a:p>
          <a:p>
            <a:endParaRPr lang="ru-RU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0"/>
            <a:ext cx="119336" cy="6858000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672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15330" y="0"/>
            <a:ext cx="9028670" cy="6878595"/>
          </a:xfrm>
          <a:prstGeom prst="rect">
            <a:avLst/>
          </a:prstGeom>
          <a:solidFill>
            <a:srgbClr val="2E41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BBF3E2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68860" y="1527121"/>
            <a:ext cx="6558166" cy="4352385"/>
          </a:xfrm>
          <a:noFill/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УЖНО ЛИ ПРОВОДИТЬ СКРИНИНГ ФУНКЦИИ ГЛОТАНИЯ В СТАЦИОНАРЕ?</a:t>
            </a:r>
            <a:b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3200" b="1" dirty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200" b="1" dirty="0" smtClean="0">
                <a:solidFill>
                  <a:srgbClr val="FEF1E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ЯЗАТЕЛЬНО!</a:t>
            </a:r>
            <a:endParaRPr lang="ru-RU" sz="3200" b="1" dirty="0">
              <a:solidFill>
                <a:srgbClr val="FEF1E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760314" y="2052011"/>
            <a:ext cx="991573" cy="1503040"/>
            <a:chOff x="3841777" y="2807778"/>
            <a:chExt cx="751840" cy="1039851"/>
          </a:xfrm>
          <a:solidFill>
            <a:srgbClr val="E1A198"/>
          </a:solidFill>
        </p:grpSpPr>
        <p:sp>
          <p:nvSpPr>
            <p:cNvPr id="6" name="object 6"/>
            <p:cNvSpPr/>
            <p:nvPr/>
          </p:nvSpPr>
          <p:spPr>
            <a:xfrm>
              <a:off x="4076580" y="3587279"/>
              <a:ext cx="260350" cy="260350"/>
            </a:xfrm>
            <a:custGeom>
              <a:avLst/>
              <a:gdLst/>
              <a:ahLst/>
              <a:cxnLst/>
              <a:rect l="l" t="t" r="r" b="b"/>
              <a:pathLst>
                <a:path w="260350" h="260350">
                  <a:moveTo>
                    <a:pt x="236016" y="0"/>
                  </a:moveTo>
                  <a:lnTo>
                    <a:pt x="23825" y="0"/>
                  </a:lnTo>
                  <a:lnTo>
                    <a:pt x="16243" y="3263"/>
                  </a:lnTo>
                  <a:lnTo>
                    <a:pt x="3251" y="16256"/>
                  </a:lnTo>
                  <a:lnTo>
                    <a:pt x="0" y="23825"/>
                  </a:lnTo>
                  <a:lnTo>
                    <a:pt x="0" y="236042"/>
                  </a:lnTo>
                  <a:lnTo>
                    <a:pt x="3251" y="243636"/>
                  </a:lnTo>
                  <a:lnTo>
                    <a:pt x="16272" y="256616"/>
                  </a:lnTo>
                  <a:lnTo>
                    <a:pt x="23812" y="259854"/>
                  </a:lnTo>
                  <a:lnTo>
                    <a:pt x="236016" y="259854"/>
                  </a:lnTo>
                  <a:lnTo>
                    <a:pt x="243624" y="256603"/>
                  </a:lnTo>
                  <a:lnTo>
                    <a:pt x="256603" y="243636"/>
                  </a:lnTo>
                  <a:lnTo>
                    <a:pt x="259854" y="236042"/>
                  </a:lnTo>
                  <a:lnTo>
                    <a:pt x="259854" y="23825"/>
                  </a:lnTo>
                  <a:lnTo>
                    <a:pt x="256603" y="16256"/>
                  </a:lnTo>
                  <a:lnTo>
                    <a:pt x="243611" y="3251"/>
                  </a:lnTo>
                  <a:lnTo>
                    <a:pt x="236016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3841777" y="2807778"/>
              <a:ext cx="751840" cy="727710"/>
            </a:xfrm>
            <a:custGeom>
              <a:avLst/>
              <a:gdLst/>
              <a:ahLst/>
              <a:cxnLst/>
              <a:rect l="l" t="t" r="r" b="b"/>
              <a:pathLst>
                <a:path w="751839" h="727710">
                  <a:moveTo>
                    <a:pt x="735794" y="237109"/>
                  </a:moveTo>
                  <a:lnTo>
                    <a:pt x="367169" y="237109"/>
                  </a:lnTo>
                  <a:lnTo>
                    <a:pt x="391204" y="238732"/>
                  </a:lnTo>
                  <a:lnTo>
                    <a:pt x="413762" y="243601"/>
                  </a:lnTo>
                  <a:lnTo>
                    <a:pt x="454469" y="263067"/>
                  </a:lnTo>
                  <a:lnTo>
                    <a:pt x="482776" y="291091"/>
                  </a:lnTo>
                  <a:lnTo>
                    <a:pt x="492213" y="323164"/>
                  </a:lnTo>
                  <a:lnTo>
                    <a:pt x="490944" y="341330"/>
                  </a:lnTo>
                  <a:lnTo>
                    <a:pt x="471919" y="384873"/>
                  </a:lnTo>
                  <a:lnTo>
                    <a:pt x="425933" y="419276"/>
                  </a:lnTo>
                  <a:lnTo>
                    <a:pt x="403694" y="430339"/>
                  </a:lnTo>
                  <a:lnTo>
                    <a:pt x="372694" y="446505"/>
                  </a:lnTo>
                  <a:lnTo>
                    <a:pt x="314633" y="490563"/>
                  </a:lnTo>
                  <a:lnTo>
                    <a:pt x="287591" y="518452"/>
                  </a:lnTo>
                  <a:lnTo>
                    <a:pt x="264497" y="548777"/>
                  </a:lnTo>
                  <a:lnTo>
                    <a:pt x="238108" y="612322"/>
                  </a:lnTo>
                  <a:lnTo>
                    <a:pt x="234810" y="645541"/>
                  </a:lnTo>
                  <a:lnTo>
                    <a:pt x="234810" y="682078"/>
                  </a:lnTo>
                  <a:lnTo>
                    <a:pt x="247825" y="719108"/>
                  </a:lnTo>
                  <a:lnTo>
                    <a:pt x="264045" y="727557"/>
                  </a:lnTo>
                  <a:lnTo>
                    <a:pt x="458927" y="727557"/>
                  </a:lnTo>
                  <a:lnTo>
                    <a:pt x="488961" y="702075"/>
                  </a:lnTo>
                  <a:lnTo>
                    <a:pt x="491401" y="688594"/>
                  </a:lnTo>
                  <a:lnTo>
                    <a:pt x="492796" y="677576"/>
                  </a:lnTo>
                  <a:lnTo>
                    <a:pt x="513727" y="634187"/>
                  </a:lnTo>
                  <a:lnTo>
                    <a:pt x="538799" y="603931"/>
                  </a:lnTo>
                  <a:lnTo>
                    <a:pt x="597563" y="565248"/>
                  </a:lnTo>
                  <a:lnTo>
                    <a:pt x="609082" y="558477"/>
                  </a:lnTo>
                  <a:lnTo>
                    <a:pt x="651862" y="528573"/>
                  </a:lnTo>
                  <a:lnTo>
                    <a:pt x="691173" y="492972"/>
                  </a:lnTo>
                  <a:lnTo>
                    <a:pt x="717960" y="456058"/>
                  </a:lnTo>
                  <a:lnTo>
                    <a:pt x="738670" y="406793"/>
                  </a:lnTo>
                  <a:lnTo>
                    <a:pt x="748115" y="367204"/>
                  </a:lnTo>
                  <a:lnTo>
                    <a:pt x="751255" y="324777"/>
                  </a:lnTo>
                  <a:lnTo>
                    <a:pt x="749173" y="291459"/>
                  </a:lnTo>
                  <a:lnTo>
                    <a:pt x="742927" y="258905"/>
                  </a:lnTo>
                  <a:lnTo>
                    <a:pt x="735794" y="237109"/>
                  </a:lnTo>
                  <a:close/>
                </a:path>
                <a:path w="751839" h="727710">
                  <a:moveTo>
                    <a:pt x="382587" y="0"/>
                  </a:moveTo>
                  <a:lnTo>
                    <a:pt x="329179" y="2666"/>
                  </a:lnTo>
                  <a:lnTo>
                    <a:pt x="278657" y="10666"/>
                  </a:lnTo>
                  <a:lnTo>
                    <a:pt x="231021" y="23998"/>
                  </a:lnTo>
                  <a:lnTo>
                    <a:pt x="186271" y="42664"/>
                  </a:lnTo>
                  <a:lnTo>
                    <a:pt x="144408" y="66663"/>
                  </a:lnTo>
                  <a:lnTo>
                    <a:pt x="105431" y="95995"/>
                  </a:lnTo>
                  <a:lnTo>
                    <a:pt x="69340" y="130659"/>
                  </a:lnTo>
                  <a:lnTo>
                    <a:pt x="36135" y="170657"/>
                  </a:lnTo>
                  <a:lnTo>
                    <a:pt x="5816" y="215988"/>
                  </a:lnTo>
                  <a:lnTo>
                    <a:pt x="0" y="230606"/>
                  </a:lnTo>
                  <a:lnTo>
                    <a:pt x="2717" y="246837"/>
                  </a:lnTo>
                  <a:lnTo>
                    <a:pt x="6908" y="253606"/>
                  </a:lnTo>
                  <a:lnTo>
                    <a:pt x="147116" y="360527"/>
                  </a:lnTo>
                  <a:lnTo>
                    <a:pt x="154152" y="364858"/>
                  </a:lnTo>
                  <a:lnTo>
                    <a:pt x="160921" y="367017"/>
                  </a:lnTo>
                  <a:lnTo>
                    <a:pt x="167411" y="367017"/>
                  </a:lnTo>
                  <a:lnTo>
                    <a:pt x="219943" y="320785"/>
                  </a:lnTo>
                  <a:lnTo>
                    <a:pt x="243543" y="294141"/>
                  </a:lnTo>
                  <a:lnTo>
                    <a:pt x="279488" y="260642"/>
                  </a:lnTo>
                  <a:lnTo>
                    <a:pt x="318862" y="242989"/>
                  </a:lnTo>
                  <a:lnTo>
                    <a:pt x="367169" y="237109"/>
                  </a:lnTo>
                  <a:lnTo>
                    <a:pt x="735794" y="237109"/>
                  </a:lnTo>
                  <a:lnTo>
                    <a:pt x="732524" y="227118"/>
                  </a:lnTo>
                  <a:lnTo>
                    <a:pt x="700102" y="166629"/>
                  </a:lnTo>
                  <a:lnTo>
                    <a:pt x="657063" y="114863"/>
                  </a:lnTo>
                  <a:lnTo>
                    <a:pt x="604688" y="72507"/>
                  </a:lnTo>
                  <a:lnTo>
                    <a:pt x="545406" y="38808"/>
                  </a:lnTo>
                  <a:lnTo>
                    <a:pt x="480496" y="14149"/>
                  </a:lnTo>
                  <a:lnTo>
                    <a:pt x="415125" y="1571"/>
                  </a:lnTo>
                  <a:lnTo>
                    <a:pt x="382587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630096" y="4324719"/>
            <a:ext cx="1206671" cy="1153136"/>
            <a:chOff x="1898600" y="2705383"/>
            <a:chExt cx="1244600" cy="1244600"/>
          </a:xfrm>
          <a:solidFill>
            <a:srgbClr val="E1A198"/>
          </a:solidFill>
        </p:grpSpPr>
        <p:sp>
          <p:nvSpPr>
            <p:cNvPr id="9" name="object 3"/>
            <p:cNvSpPr/>
            <p:nvPr/>
          </p:nvSpPr>
          <p:spPr>
            <a:xfrm>
              <a:off x="2444678" y="3005720"/>
              <a:ext cx="149034" cy="151307"/>
            </a:xfrm>
            <a:prstGeom prst="rect">
              <a:avLst/>
            </a:pr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10" name="object 4"/>
            <p:cNvSpPr/>
            <p:nvPr/>
          </p:nvSpPr>
          <p:spPr>
            <a:xfrm>
              <a:off x="2403724" y="3219603"/>
              <a:ext cx="234950" cy="430530"/>
            </a:xfrm>
            <a:custGeom>
              <a:avLst/>
              <a:gdLst/>
              <a:ahLst/>
              <a:cxnLst/>
              <a:rect l="l" t="t" r="r" b="b"/>
              <a:pathLst>
                <a:path w="234950" h="430529">
                  <a:moveTo>
                    <a:pt x="149034" y="0"/>
                  </a:moveTo>
                  <a:lnTo>
                    <a:pt x="29578" y="0"/>
                  </a:lnTo>
                  <a:lnTo>
                    <a:pt x="18237" y="2221"/>
                  </a:lnTo>
                  <a:lnTo>
                    <a:pt x="8816" y="8388"/>
                  </a:lnTo>
                  <a:lnTo>
                    <a:pt x="2382" y="17755"/>
                  </a:lnTo>
                  <a:lnTo>
                    <a:pt x="0" y="29578"/>
                  </a:lnTo>
                  <a:lnTo>
                    <a:pt x="0" y="91008"/>
                  </a:lnTo>
                  <a:lnTo>
                    <a:pt x="2221" y="102353"/>
                  </a:lnTo>
                  <a:lnTo>
                    <a:pt x="8388" y="111774"/>
                  </a:lnTo>
                  <a:lnTo>
                    <a:pt x="17755" y="118206"/>
                  </a:lnTo>
                  <a:lnTo>
                    <a:pt x="29578" y="120586"/>
                  </a:lnTo>
                  <a:lnTo>
                    <a:pt x="53466" y="120586"/>
                  </a:lnTo>
                  <a:lnTo>
                    <a:pt x="53466" y="309435"/>
                  </a:lnTo>
                  <a:lnTo>
                    <a:pt x="8816" y="317828"/>
                  </a:lnTo>
                  <a:lnTo>
                    <a:pt x="0" y="339013"/>
                  </a:lnTo>
                  <a:lnTo>
                    <a:pt x="0" y="400456"/>
                  </a:lnTo>
                  <a:lnTo>
                    <a:pt x="2221" y="411796"/>
                  </a:lnTo>
                  <a:lnTo>
                    <a:pt x="8388" y="421217"/>
                  </a:lnTo>
                  <a:lnTo>
                    <a:pt x="17755" y="427652"/>
                  </a:lnTo>
                  <a:lnTo>
                    <a:pt x="29578" y="430034"/>
                  </a:lnTo>
                  <a:lnTo>
                    <a:pt x="204774" y="430034"/>
                  </a:lnTo>
                  <a:lnTo>
                    <a:pt x="216115" y="427813"/>
                  </a:lnTo>
                  <a:lnTo>
                    <a:pt x="225536" y="421646"/>
                  </a:lnTo>
                  <a:lnTo>
                    <a:pt x="231971" y="412278"/>
                  </a:lnTo>
                  <a:lnTo>
                    <a:pt x="234353" y="400456"/>
                  </a:lnTo>
                  <a:lnTo>
                    <a:pt x="234353" y="339013"/>
                  </a:lnTo>
                  <a:lnTo>
                    <a:pt x="231971" y="327020"/>
                  </a:lnTo>
                  <a:lnTo>
                    <a:pt x="225536" y="317263"/>
                  </a:lnTo>
                  <a:lnTo>
                    <a:pt x="216115" y="310704"/>
                  </a:lnTo>
                  <a:lnTo>
                    <a:pt x="204774" y="308305"/>
                  </a:lnTo>
                  <a:lnTo>
                    <a:pt x="178612" y="308305"/>
                  </a:lnTo>
                  <a:lnTo>
                    <a:pt x="178612" y="29578"/>
                  </a:lnTo>
                  <a:lnTo>
                    <a:pt x="176391" y="18237"/>
                  </a:lnTo>
                  <a:lnTo>
                    <a:pt x="170224" y="8816"/>
                  </a:lnTo>
                  <a:lnTo>
                    <a:pt x="160857" y="2382"/>
                  </a:lnTo>
                  <a:lnTo>
                    <a:pt x="149034" y="0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  <p:sp>
          <p:nvSpPr>
            <p:cNvPr id="11" name="object 5"/>
            <p:cNvSpPr/>
            <p:nvPr/>
          </p:nvSpPr>
          <p:spPr>
            <a:xfrm>
              <a:off x="1898600" y="2705383"/>
              <a:ext cx="1244600" cy="1244600"/>
            </a:xfrm>
            <a:custGeom>
              <a:avLst/>
              <a:gdLst/>
              <a:ahLst/>
              <a:cxnLst/>
              <a:rect l="l" t="t" r="r" b="b"/>
              <a:pathLst>
                <a:path w="1244600" h="1244600">
                  <a:moveTo>
                    <a:pt x="622300" y="0"/>
                  </a:moveTo>
                  <a:lnTo>
                    <a:pt x="573682" y="1873"/>
                  </a:lnTo>
                  <a:lnTo>
                    <a:pt x="526085" y="7399"/>
                  </a:lnTo>
                  <a:lnTo>
                    <a:pt x="479648" y="16441"/>
                  </a:lnTo>
                  <a:lnTo>
                    <a:pt x="434508" y="28859"/>
                  </a:lnTo>
                  <a:lnTo>
                    <a:pt x="390805" y="44515"/>
                  </a:lnTo>
                  <a:lnTo>
                    <a:pt x="348677" y="63271"/>
                  </a:lnTo>
                  <a:lnTo>
                    <a:pt x="308263" y="84987"/>
                  </a:lnTo>
                  <a:lnTo>
                    <a:pt x="269701" y="109525"/>
                  </a:lnTo>
                  <a:lnTo>
                    <a:pt x="233130" y="136748"/>
                  </a:lnTo>
                  <a:lnTo>
                    <a:pt x="198689" y="166515"/>
                  </a:lnTo>
                  <a:lnTo>
                    <a:pt x="166515" y="198689"/>
                  </a:lnTo>
                  <a:lnTo>
                    <a:pt x="136748" y="233130"/>
                  </a:lnTo>
                  <a:lnTo>
                    <a:pt x="109525" y="269701"/>
                  </a:lnTo>
                  <a:lnTo>
                    <a:pt x="84987" y="308263"/>
                  </a:lnTo>
                  <a:lnTo>
                    <a:pt x="63271" y="348677"/>
                  </a:lnTo>
                  <a:lnTo>
                    <a:pt x="44513" y="390811"/>
                  </a:lnTo>
                  <a:lnTo>
                    <a:pt x="28859" y="434508"/>
                  </a:lnTo>
                  <a:lnTo>
                    <a:pt x="16441" y="479648"/>
                  </a:lnTo>
                  <a:lnTo>
                    <a:pt x="7399" y="526085"/>
                  </a:lnTo>
                  <a:lnTo>
                    <a:pt x="1873" y="573682"/>
                  </a:lnTo>
                  <a:lnTo>
                    <a:pt x="0" y="622299"/>
                  </a:lnTo>
                  <a:lnTo>
                    <a:pt x="1873" y="670917"/>
                  </a:lnTo>
                  <a:lnTo>
                    <a:pt x="7399" y="718514"/>
                  </a:lnTo>
                  <a:lnTo>
                    <a:pt x="16441" y="764951"/>
                  </a:lnTo>
                  <a:lnTo>
                    <a:pt x="28859" y="810091"/>
                  </a:lnTo>
                  <a:lnTo>
                    <a:pt x="44515" y="853794"/>
                  </a:lnTo>
                  <a:lnTo>
                    <a:pt x="63271" y="895922"/>
                  </a:lnTo>
                  <a:lnTo>
                    <a:pt x="84987" y="936336"/>
                  </a:lnTo>
                  <a:lnTo>
                    <a:pt x="109525" y="974898"/>
                  </a:lnTo>
                  <a:lnTo>
                    <a:pt x="136748" y="1011469"/>
                  </a:lnTo>
                  <a:lnTo>
                    <a:pt x="166515" y="1045910"/>
                  </a:lnTo>
                  <a:lnTo>
                    <a:pt x="198689" y="1078084"/>
                  </a:lnTo>
                  <a:lnTo>
                    <a:pt x="233130" y="1107851"/>
                  </a:lnTo>
                  <a:lnTo>
                    <a:pt x="269701" y="1135074"/>
                  </a:lnTo>
                  <a:lnTo>
                    <a:pt x="308263" y="1159612"/>
                  </a:lnTo>
                  <a:lnTo>
                    <a:pt x="348677" y="1181328"/>
                  </a:lnTo>
                  <a:lnTo>
                    <a:pt x="390805" y="1200084"/>
                  </a:lnTo>
                  <a:lnTo>
                    <a:pt x="434508" y="1215740"/>
                  </a:lnTo>
                  <a:lnTo>
                    <a:pt x="479648" y="1228158"/>
                  </a:lnTo>
                  <a:lnTo>
                    <a:pt x="526085" y="1237200"/>
                  </a:lnTo>
                  <a:lnTo>
                    <a:pt x="573682" y="1242726"/>
                  </a:lnTo>
                  <a:lnTo>
                    <a:pt x="622300" y="1244599"/>
                  </a:lnTo>
                  <a:lnTo>
                    <a:pt x="670917" y="1242726"/>
                  </a:lnTo>
                  <a:lnTo>
                    <a:pt x="718514" y="1237200"/>
                  </a:lnTo>
                  <a:lnTo>
                    <a:pt x="764951" y="1228158"/>
                  </a:lnTo>
                  <a:lnTo>
                    <a:pt x="810091" y="1215740"/>
                  </a:lnTo>
                  <a:lnTo>
                    <a:pt x="853794" y="1200084"/>
                  </a:lnTo>
                  <a:lnTo>
                    <a:pt x="895922" y="1181328"/>
                  </a:lnTo>
                  <a:lnTo>
                    <a:pt x="930618" y="1162684"/>
                  </a:lnTo>
                  <a:lnTo>
                    <a:pt x="622300" y="1162684"/>
                  </a:lnTo>
                  <a:lnTo>
                    <a:pt x="573170" y="1160473"/>
                  </a:lnTo>
                  <a:lnTo>
                    <a:pt x="525264" y="1153965"/>
                  </a:lnTo>
                  <a:lnTo>
                    <a:pt x="478775" y="1143354"/>
                  </a:lnTo>
                  <a:lnTo>
                    <a:pt x="433894" y="1128832"/>
                  </a:lnTo>
                  <a:lnTo>
                    <a:pt x="390813" y="1110589"/>
                  </a:lnTo>
                  <a:lnTo>
                    <a:pt x="349725" y="1088819"/>
                  </a:lnTo>
                  <a:lnTo>
                    <a:pt x="310820" y="1063714"/>
                  </a:lnTo>
                  <a:lnTo>
                    <a:pt x="274292" y="1035464"/>
                  </a:lnTo>
                  <a:lnTo>
                    <a:pt x="240331" y="1004263"/>
                  </a:lnTo>
                  <a:lnTo>
                    <a:pt x="209131" y="970302"/>
                  </a:lnTo>
                  <a:lnTo>
                    <a:pt x="180882" y="933773"/>
                  </a:lnTo>
                  <a:lnTo>
                    <a:pt x="155777" y="894869"/>
                  </a:lnTo>
                  <a:lnTo>
                    <a:pt x="134007" y="853780"/>
                  </a:lnTo>
                  <a:lnTo>
                    <a:pt x="115766" y="810700"/>
                  </a:lnTo>
                  <a:lnTo>
                    <a:pt x="101244" y="765820"/>
                  </a:lnTo>
                  <a:lnTo>
                    <a:pt x="90633" y="719332"/>
                  </a:lnTo>
                  <a:lnTo>
                    <a:pt x="84126" y="671428"/>
                  </a:lnTo>
                  <a:lnTo>
                    <a:pt x="81915" y="622299"/>
                  </a:lnTo>
                  <a:lnTo>
                    <a:pt x="84126" y="573169"/>
                  </a:lnTo>
                  <a:lnTo>
                    <a:pt x="90633" y="525264"/>
                  </a:lnTo>
                  <a:lnTo>
                    <a:pt x="101244" y="478774"/>
                  </a:lnTo>
                  <a:lnTo>
                    <a:pt x="115766" y="433892"/>
                  </a:lnTo>
                  <a:lnTo>
                    <a:pt x="134010" y="390805"/>
                  </a:lnTo>
                  <a:lnTo>
                    <a:pt x="155777" y="349721"/>
                  </a:lnTo>
                  <a:lnTo>
                    <a:pt x="180882" y="310816"/>
                  </a:lnTo>
                  <a:lnTo>
                    <a:pt x="209131" y="274286"/>
                  </a:lnTo>
                  <a:lnTo>
                    <a:pt x="240331" y="240325"/>
                  </a:lnTo>
                  <a:lnTo>
                    <a:pt x="274292" y="209123"/>
                  </a:lnTo>
                  <a:lnTo>
                    <a:pt x="310820" y="180873"/>
                  </a:lnTo>
                  <a:lnTo>
                    <a:pt x="349725" y="155767"/>
                  </a:lnTo>
                  <a:lnTo>
                    <a:pt x="390813" y="133997"/>
                  </a:lnTo>
                  <a:lnTo>
                    <a:pt x="433894" y="115755"/>
                  </a:lnTo>
                  <a:lnTo>
                    <a:pt x="478775" y="101232"/>
                  </a:lnTo>
                  <a:lnTo>
                    <a:pt x="525264" y="90621"/>
                  </a:lnTo>
                  <a:lnTo>
                    <a:pt x="573170" y="84114"/>
                  </a:lnTo>
                  <a:lnTo>
                    <a:pt x="622300" y="81902"/>
                  </a:lnTo>
                  <a:lnTo>
                    <a:pt x="930594" y="81902"/>
                  </a:lnTo>
                  <a:lnTo>
                    <a:pt x="895922" y="63271"/>
                  </a:lnTo>
                  <a:lnTo>
                    <a:pt x="853794" y="44515"/>
                  </a:lnTo>
                  <a:lnTo>
                    <a:pt x="810091" y="28859"/>
                  </a:lnTo>
                  <a:lnTo>
                    <a:pt x="764951" y="16441"/>
                  </a:lnTo>
                  <a:lnTo>
                    <a:pt x="718514" y="7399"/>
                  </a:lnTo>
                  <a:lnTo>
                    <a:pt x="670917" y="1873"/>
                  </a:lnTo>
                  <a:lnTo>
                    <a:pt x="622300" y="0"/>
                  </a:lnTo>
                  <a:close/>
                </a:path>
                <a:path w="1244600" h="1244600">
                  <a:moveTo>
                    <a:pt x="930594" y="81902"/>
                  </a:moveTo>
                  <a:lnTo>
                    <a:pt x="622300" y="81902"/>
                  </a:lnTo>
                  <a:lnTo>
                    <a:pt x="671429" y="84114"/>
                  </a:lnTo>
                  <a:lnTo>
                    <a:pt x="719335" y="90621"/>
                  </a:lnTo>
                  <a:lnTo>
                    <a:pt x="765824" y="101232"/>
                  </a:lnTo>
                  <a:lnTo>
                    <a:pt x="810705" y="115755"/>
                  </a:lnTo>
                  <a:lnTo>
                    <a:pt x="853786" y="133997"/>
                  </a:lnTo>
                  <a:lnTo>
                    <a:pt x="894874" y="155767"/>
                  </a:lnTo>
                  <a:lnTo>
                    <a:pt x="933779" y="180873"/>
                  </a:lnTo>
                  <a:lnTo>
                    <a:pt x="970307" y="209123"/>
                  </a:lnTo>
                  <a:lnTo>
                    <a:pt x="1004268" y="240325"/>
                  </a:lnTo>
                  <a:lnTo>
                    <a:pt x="1035468" y="274286"/>
                  </a:lnTo>
                  <a:lnTo>
                    <a:pt x="1063717" y="310816"/>
                  </a:lnTo>
                  <a:lnTo>
                    <a:pt x="1088822" y="349721"/>
                  </a:lnTo>
                  <a:lnTo>
                    <a:pt x="1110592" y="390811"/>
                  </a:lnTo>
                  <a:lnTo>
                    <a:pt x="1128833" y="433892"/>
                  </a:lnTo>
                  <a:lnTo>
                    <a:pt x="1143355" y="478774"/>
                  </a:lnTo>
                  <a:lnTo>
                    <a:pt x="1153966" y="525264"/>
                  </a:lnTo>
                  <a:lnTo>
                    <a:pt x="1160473" y="573169"/>
                  </a:lnTo>
                  <a:lnTo>
                    <a:pt x="1162685" y="622299"/>
                  </a:lnTo>
                  <a:lnTo>
                    <a:pt x="1160473" y="671428"/>
                  </a:lnTo>
                  <a:lnTo>
                    <a:pt x="1153966" y="719332"/>
                  </a:lnTo>
                  <a:lnTo>
                    <a:pt x="1143355" y="765820"/>
                  </a:lnTo>
                  <a:lnTo>
                    <a:pt x="1128833" y="810700"/>
                  </a:lnTo>
                  <a:lnTo>
                    <a:pt x="1110584" y="853794"/>
                  </a:lnTo>
                  <a:lnTo>
                    <a:pt x="1088822" y="894869"/>
                  </a:lnTo>
                  <a:lnTo>
                    <a:pt x="1063717" y="933773"/>
                  </a:lnTo>
                  <a:lnTo>
                    <a:pt x="1035468" y="970302"/>
                  </a:lnTo>
                  <a:lnTo>
                    <a:pt x="1004268" y="1004263"/>
                  </a:lnTo>
                  <a:lnTo>
                    <a:pt x="970307" y="1035464"/>
                  </a:lnTo>
                  <a:lnTo>
                    <a:pt x="933779" y="1063714"/>
                  </a:lnTo>
                  <a:lnTo>
                    <a:pt x="894874" y="1088819"/>
                  </a:lnTo>
                  <a:lnTo>
                    <a:pt x="853786" y="1110589"/>
                  </a:lnTo>
                  <a:lnTo>
                    <a:pt x="810705" y="1128832"/>
                  </a:lnTo>
                  <a:lnTo>
                    <a:pt x="765824" y="1143354"/>
                  </a:lnTo>
                  <a:lnTo>
                    <a:pt x="719335" y="1153965"/>
                  </a:lnTo>
                  <a:lnTo>
                    <a:pt x="671429" y="1160473"/>
                  </a:lnTo>
                  <a:lnTo>
                    <a:pt x="622300" y="1162684"/>
                  </a:lnTo>
                  <a:lnTo>
                    <a:pt x="930618" y="1162684"/>
                  </a:lnTo>
                  <a:lnTo>
                    <a:pt x="974898" y="1135074"/>
                  </a:lnTo>
                  <a:lnTo>
                    <a:pt x="1011469" y="1107851"/>
                  </a:lnTo>
                  <a:lnTo>
                    <a:pt x="1045910" y="1078084"/>
                  </a:lnTo>
                  <a:lnTo>
                    <a:pt x="1078084" y="1045910"/>
                  </a:lnTo>
                  <a:lnTo>
                    <a:pt x="1107851" y="1011469"/>
                  </a:lnTo>
                  <a:lnTo>
                    <a:pt x="1135074" y="974898"/>
                  </a:lnTo>
                  <a:lnTo>
                    <a:pt x="1159612" y="936336"/>
                  </a:lnTo>
                  <a:lnTo>
                    <a:pt x="1181328" y="895922"/>
                  </a:lnTo>
                  <a:lnTo>
                    <a:pt x="1200089" y="853780"/>
                  </a:lnTo>
                  <a:lnTo>
                    <a:pt x="1215740" y="810091"/>
                  </a:lnTo>
                  <a:lnTo>
                    <a:pt x="1228158" y="764951"/>
                  </a:lnTo>
                  <a:lnTo>
                    <a:pt x="1237200" y="718514"/>
                  </a:lnTo>
                  <a:lnTo>
                    <a:pt x="1242726" y="670917"/>
                  </a:lnTo>
                  <a:lnTo>
                    <a:pt x="1244600" y="622299"/>
                  </a:lnTo>
                  <a:lnTo>
                    <a:pt x="1242726" y="573682"/>
                  </a:lnTo>
                  <a:lnTo>
                    <a:pt x="1237200" y="526085"/>
                  </a:lnTo>
                  <a:lnTo>
                    <a:pt x="1228158" y="479648"/>
                  </a:lnTo>
                  <a:lnTo>
                    <a:pt x="1215740" y="434508"/>
                  </a:lnTo>
                  <a:lnTo>
                    <a:pt x="1200084" y="390805"/>
                  </a:lnTo>
                  <a:lnTo>
                    <a:pt x="1181328" y="348677"/>
                  </a:lnTo>
                  <a:lnTo>
                    <a:pt x="1159612" y="308263"/>
                  </a:lnTo>
                  <a:lnTo>
                    <a:pt x="1135074" y="269701"/>
                  </a:lnTo>
                  <a:lnTo>
                    <a:pt x="1107851" y="233130"/>
                  </a:lnTo>
                  <a:lnTo>
                    <a:pt x="1078084" y="198689"/>
                  </a:lnTo>
                  <a:lnTo>
                    <a:pt x="1045910" y="166515"/>
                  </a:lnTo>
                  <a:lnTo>
                    <a:pt x="1011469" y="136748"/>
                  </a:lnTo>
                  <a:lnTo>
                    <a:pt x="974898" y="109525"/>
                  </a:lnTo>
                  <a:lnTo>
                    <a:pt x="936336" y="84987"/>
                  </a:lnTo>
                  <a:lnTo>
                    <a:pt x="930594" y="81902"/>
                  </a:lnTo>
                  <a:close/>
                </a:path>
              </a:pathLst>
            </a:custGeom>
            <a:grpFill/>
          </p:spPr>
          <p:txBody>
            <a:bodyPr wrap="square" lIns="0" tIns="0" rIns="0" bIns="0" rtlCol="0"/>
            <a:lstStyle/>
            <a:p>
              <a:endParaRPr>
                <a:solidFill>
                  <a:srgbClr val="FDBB9D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5615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475905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8087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17</TotalTime>
  <Words>2080</Words>
  <Application>Microsoft Office PowerPoint</Application>
  <PresentationFormat>Экран (4:3)</PresentationFormat>
  <Paragraphs>343</Paragraphs>
  <Slides>5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0</vt:i4>
      </vt:variant>
    </vt:vector>
  </HeadingPairs>
  <TitlesOfParts>
    <vt:vector size="57" baseType="lpstr">
      <vt:lpstr>Arial</vt:lpstr>
      <vt:lpstr>Calibri</vt:lpstr>
      <vt:lpstr>Calibri Light</vt:lpstr>
      <vt:lpstr>Tahoma</vt:lpstr>
      <vt:lpstr>Verdana</vt:lpstr>
      <vt:lpstr>Тема Office</vt:lpstr>
      <vt:lpstr>think-cell Slide</vt:lpstr>
      <vt:lpstr>             ДИСФАГИЯ. АСПИРАЦИЯ. МЕТОДЫ ОЦЕНКИ ДИСФАГИИ И ПРОФИЛАКТИКИ АСПИРАЦИИ. ТЕХНИКА ПОСТАНОВКИ НАЗОГАСТРАЛЬНОГО ЗОНДА</vt:lpstr>
      <vt:lpstr>Презентация PowerPoint</vt:lpstr>
      <vt:lpstr>О ЧЕМ ПОГОВОРИМ…  </vt:lpstr>
      <vt:lpstr>ДИСФАГИЯ  И ЕЕ ВОСПРИЯТИЕ ПАЦИЕНТОМ</vt:lpstr>
      <vt:lpstr>КАК ОПРЕДЕЛИТЬ СТЕПЕНЬ ДИСФАГИИ? </vt:lpstr>
      <vt:lpstr>КАК ЕЩЕ МЫ МОЖЕМ ЗАМЕТИТЬ ПРОБЛЕМЫ С ГЛОТАНИЕМ?</vt:lpstr>
      <vt:lpstr>НУЖНО ЛИ ПРОВОДИТЬ СКРИНИНГ ФУНКЦИИ ГЛОТАНИЯ В СТАЦИОНАРЕ?    ОБЯЗАТЕЛЬНО!</vt:lpstr>
      <vt:lpstr>Презентация PowerPoint</vt:lpstr>
      <vt:lpstr>Презентация PowerPoint</vt:lpstr>
      <vt:lpstr>ТАКТИКА ВЕДЕНИЯ ПАЦИЕНТОВ С ДИСФАГИЕЙ</vt:lpstr>
      <vt:lpstr> ПОПЫТКА КОРМЛЕНИЯ ПАЦИЕНТА ЧЕРЕЗ РОТ ПРИ ДИСФАГИИ 3-4 СТЕПЕНИ МОЖЕТ ПРИВЕСТИ  К АСПИРАЦИИ!!!                                                                             </vt:lpstr>
      <vt:lpstr> ПОПЫТКА КОРМЛЕНИЯ ПАЦИЕНТА ЧЕРЕЗ РОТ ПРИ ДИСФАГИИ 3-4 СТЕПЕНИ МОЖЕТ ПРИВЕСТИ К АСПИРАЦИИ                                                                             Эндоскопическая картина</vt:lpstr>
      <vt:lpstr>АСПИРАЦИЯ-ЭТО…</vt:lpstr>
      <vt:lpstr>Аспирация - это это не только пневмония,   ЭТО ЕЩЕ невидимая боль!    Обращайте внимание на признаки болевого поведения у пациента! </vt:lpstr>
      <vt:lpstr>ОЦЕНКА РИСКА АСПИ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ЧТО ПОДГОТОВИТЬ ДЛЯ ПОСТАНОВКИ ЗОНДА?</vt:lpstr>
      <vt:lpstr>ВЫБОР И ПОДГОТОВКА ЗОНДА</vt:lpstr>
      <vt:lpstr>ВИДЫ ЗОНДОВ</vt:lpstr>
      <vt:lpstr>ВИДЫ ЗОНДОВ</vt:lpstr>
      <vt:lpstr>ВСПОМНИМ АНАТОМИЮ…  ПРОДВИЖЕНИЕ ПИЩЕВОГО КОМКА </vt:lpstr>
      <vt:lpstr>ПОДГОТОВКА К ПРОЦЕДУРЕ</vt:lpstr>
      <vt:lpstr>ПОДГОТОВКА К ПРОЦЕДУРЕ</vt:lpstr>
      <vt:lpstr>ПОДГОТОВКА К ПРОЦЕДУРЕ</vt:lpstr>
      <vt:lpstr>ВЫПОЛНЕНИЕ ПРОЦЕДУРЫ  </vt:lpstr>
      <vt:lpstr> ВЫПОЛНЕНИЕ ПРОЦЕДУРЫ </vt:lpstr>
      <vt:lpstr>ВЫПОЛНЕНИЕ ПРОЦЕДУРЫ</vt:lpstr>
      <vt:lpstr>Презентация PowerPoint</vt:lpstr>
      <vt:lpstr>Презентация PowerPoint</vt:lpstr>
      <vt:lpstr>Презентация PowerPoint</vt:lpstr>
      <vt:lpstr>ЗАВЕРШЕНИЕ ПРОЦЕДУРЫ </vt:lpstr>
      <vt:lpstr>УХОД ЗА ЗОНДОМ </vt:lpstr>
      <vt:lpstr>КОГДА  МЕНЯТЬ ЗОНД? </vt:lpstr>
      <vt:lpstr>КАК И ЧЕМ КОРМИТЬ ЧЕРЕЗ НГЗ </vt:lpstr>
      <vt:lpstr>ВАРИАНТЫ ЗОНДОВОГО ПИТАНИЯ ЧЕРЕЗ НГЗ</vt:lpstr>
      <vt:lpstr>СПОСОБЫ ВВЕДЕНИЯ ЗОНДОВОГО ПИТАНИЯ</vt:lpstr>
      <vt:lpstr>ЧЕМ КОРМИТЬ?</vt:lpstr>
      <vt:lpstr>ПРАВИЛА КОРМЛЕНИЯ ЧЕРЕЗ НГЗ</vt:lpstr>
      <vt:lpstr>ПРАВИЛА КОРМЛЕНИЯ ЧЕРЕЗ НГЗ  </vt:lpstr>
      <vt:lpstr>Презентация PowerPoint</vt:lpstr>
      <vt:lpstr>ПРОФИЛАКТИКА ОСЛОЖНЕНИЙ ЗОНДОВОГО ПИТАНИЯ МЕХАНИЧЕСКИЕ ОСЛОЖНЕНИЯ (ПРИ КОРМЛЕНИИ ЧЕРЕЗ ЗОНД) </vt:lpstr>
      <vt:lpstr>ПРОФИЛАКТИКА ОСЛОЖНЕНИЙ ЗОНДОВОГО ПИТАНИЯ ЖЕЛУДОЧНО-КИШЕЧНЫЕ (НЕАСПИРАЦИОННЫЕ) ОСЛОЖЕНЕНИЯ </vt:lpstr>
      <vt:lpstr>НАШИ ЗАБЛУЖДЕНИЯ </vt:lpstr>
      <vt:lpstr>НАШИ ЗАБЛУЖДЕНИЯ </vt:lpstr>
      <vt:lpstr>НАШИ ЗАБЛУЖДЕНИЯ 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учающее занятие на тему: «Дисфагия. Аспирация. Методы оценки и профилактики».</dc:title>
  <dc:creator>ЗАВЕДУЮЩИЙ-3-ОПМП-000036</dc:creator>
  <cp:lastModifiedBy>ЗАВЕДУЮЩИЙ-3-ОПМП-000036</cp:lastModifiedBy>
  <cp:revision>211</cp:revision>
  <dcterms:created xsi:type="dcterms:W3CDTF">2018-09-03T05:39:20Z</dcterms:created>
  <dcterms:modified xsi:type="dcterms:W3CDTF">2019-11-25T08:51:38Z</dcterms:modified>
</cp:coreProperties>
</file>